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tags/tag31.xml" ContentType="application/vnd.openxmlformats-officedocument.presentationml.tags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tags/tag32.xml" ContentType="application/vnd.openxmlformats-officedocument.presentationml.tags+xml"/>
  <Override PartName="/ppt/notesSlides/notesSlide35.xml" ContentType="application/vnd.openxmlformats-officedocument.presentationml.notesSlide+xml"/>
  <Override PartName="/ppt/tags/tag33.xml" ContentType="application/vnd.openxmlformats-officedocument.presentationml.tags+xml"/>
  <Override PartName="/ppt/notesSlides/notesSlide3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3"/>
  </p:sldMasterIdLst>
  <p:notesMasterIdLst>
    <p:notesMasterId r:id="rId42"/>
  </p:notesMasterIdLst>
  <p:handoutMasterIdLst>
    <p:handoutMasterId r:id="rId43"/>
  </p:handoutMasterIdLst>
  <p:sldIdLst>
    <p:sldId id="321" r:id="rId4"/>
    <p:sldId id="330" r:id="rId5"/>
    <p:sldId id="290" r:id="rId6"/>
    <p:sldId id="331" r:id="rId7"/>
    <p:sldId id="294" r:id="rId8"/>
    <p:sldId id="2145705951" r:id="rId9"/>
    <p:sldId id="2145705925" r:id="rId10"/>
    <p:sldId id="2145705952" r:id="rId11"/>
    <p:sldId id="2145705988" r:id="rId12"/>
    <p:sldId id="2145705989" r:id="rId13"/>
    <p:sldId id="2145706005" r:id="rId14"/>
    <p:sldId id="2145706006" r:id="rId15"/>
    <p:sldId id="2145705990" r:id="rId16"/>
    <p:sldId id="2145705978" r:id="rId17"/>
    <p:sldId id="2145705991" r:id="rId18"/>
    <p:sldId id="2145706010" r:id="rId19"/>
    <p:sldId id="2145706009" r:id="rId20"/>
    <p:sldId id="2145705992" r:id="rId21"/>
    <p:sldId id="2145706019" r:id="rId22"/>
    <p:sldId id="2145706007" r:id="rId23"/>
    <p:sldId id="2145706008" r:id="rId24"/>
    <p:sldId id="2145706011" r:id="rId25"/>
    <p:sldId id="2145706021" r:id="rId26"/>
    <p:sldId id="2145706012" r:id="rId27"/>
    <p:sldId id="2145706023" r:id="rId28"/>
    <p:sldId id="2145706013" r:id="rId29"/>
    <p:sldId id="2145706017" r:id="rId30"/>
    <p:sldId id="2145706018" r:id="rId31"/>
    <p:sldId id="2145706016" r:id="rId32"/>
    <p:sldId id="2145706014" r:id="rId33"/>
    <p:sldId id="2145706022" r:id="rId34"/>
    <p:sldId id="2145706024" r:id="rId35"/>
    <p:sldId id="2145706015" r:id="rId36"/>
    <p:sldId id="2145706004" r:id="rId37"/>
    <p:sldId id="2145705823" r:id="rId38"/>
    <p:sldId id="2145705934" r:id="rId39"/>
    <p:sldId id="2145705791" r:id="rId40"/>
    <p:sldId id="2145705742" r:id="rId41"/>
  </p:sldIdLst>
  <p:sldSz cx="12192000" cy="6858000"/>
  <p:notesSz cx="6858000" cy="9144000"/>
  <p:custDataLst>
    <p:tags r:id="rId4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otes" id="{22A221C9-5B71-4357-B92B-47EC9E1F1A43}">
          <p14:sldIdLst/>
        </p14:section>
        <p14:section name="Slide examples" id="{92C1AA63-312F-4789-8247-203676534D38}">
          <p14:sldIdLst>
            <p14:sldId id="321"/>
            <p14:sldId id="330"/>
            <p14:sldId id="290"/>
            <p14:sldId id="331"/>
            <p14:sldId id="294"/>
            <p14:sldId id="2145705951"/>
            <p14:sldId id="2145705925"/>
            <p14:sldId id="2145705952"/>
            <p14:sldId id="2145705988"/>
            <p14:sldId id="2145705989"/>
            <p14:sldId id="2145706005"/>
            <p14:sldId id="2145706006"/>
            <p14:sldId id="2145705990"/>
            <p14:sldId id="2145705978"/>
            <p14:sldId id="2145705991"/>
            <p14:sldId id="2145706010"/>
            <p14:sldId id="2145706009"/>
            <p14:sldId id="2145705992"/>
            <p14:sldId id="2145706019"/>
            <p14:sldId id="2145706007"/>
            <p14:sldId id="2145706008"/>
            <p14:sldId id="2145706011"/>
            <p14:sldId id="2145706021"/>
            <p14:sldId id="2145706012"/>
            <p14:sldId id="2145706023"/>
            <p14:sldId id="2145706013"/>
            <p14:sldId id="2145706017"/>
            <p14:sldId id="2145706018"/>
            <p14:sldId id="2145706016"/>
            <p14:sldId id="2145706014"/>
            <p14:sldId id="2145706022"/>
            <p14:sldId id="2145706024"/>
            <p14:sldId id="2145706015"/>
            <p14:sldId id="2145706004"/>
            <p14:sldId id="2145705823"/>
            <p14:sldId id="2145705934"/>
            <p14:sldId id="2145705791"/>
            <p14:sldId id="214570574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E6CF"/>
    <a:srgbClr val="00467F"/>
    <a:srgbClr val="F300D6"/>
    <a:srgbClr val="9A07CB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90" autoAdjust="0"/>
    <p:restoredTop sz="70850" autoAdjust="0"/>
  </p:normalViewPr>
  <p:slideViewPr>
    <p:cSldViewPr snapToGrid="0" snapToObjects="1" showGuides="1">
      <p:cViewPr varScale="1">
        <p:scale>
          <a:sx n="58" d="100"/>
          <a:sy n="58" d="100"/>
        </p:scale>
        <p:origin x="1651" y="58"/>
      </p:cViewPr>
      <p:guideLst/>
    </p:cSldViewPr>
  </p:slideViewPr>
  <p:outlineViewPr>
    <p:cViewPr>
      <p:scale>
        <a:sx n="33" d="100"/>
        <a:sy n="33" d="100"/>
      </p:scale>
      <p:origin x="0" y="-2460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 snapToObjects="1" showGuides="1">
      <p:cViewPr varScale="1">
        <p:scale>
          <a:sx n="80" d="100"/>
          <a:sy n="80" d="100"/>
        </p:scale>
        <p:origin x="3912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notesMaster" Target="notesMasters/notesMaster1.xml"/><Relationship Id="rId47" Type="http://schemas.openxmlformats.org/officeDocument/2006/relationships/theme" Target="theme/theme1.xml"/><Relationship Id="rId7" Type="http://schemas.openxmlformats.org/officeDocument/2006/relationships/slide" Target="slides/slide4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handoutMaster" Target="handoutMasters/handoutMaster1.xml"/><Relationship Id="rId48" Type="http://schemas.openxmlformats.org/officeDocument/2006/relationships/tableStyles" Target="tableStyle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1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viewProps" Target="viewProps.xml"/><Relationship Id="rId20" Type="http://schemas.openxmlformats.org/officeDocument/2006/relationships/slide" Target="slides/slide17.xml"/><Relationship Id="rId41" Type="http://schemas.openxmlformats.org/officeDocument/2006/relationships/slide" Target="slides/slide38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29/07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29.07.2025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ADFE5D-810E-B7B7-5950-600A984402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DC6FA25-CA38-D556-3F92-5BA45D84D88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FAC1F3A-A914-804C-5C7B-377EC3FB00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D86EEB-14A2-B922-0899-4805CA384E4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778168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screen 2: create list screen (when user choose create new)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1: show list typ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t.Ic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t.Titl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t.ListTypeDescription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Typ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t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6636006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2: show template from Microsoft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t.HeaderImag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t.Titl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t.TemplateDescription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Templat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t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mplateProvide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p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p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t.TemplateProvid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p.Provider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'Microsoft'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3: show template from your organization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t.HeaderImag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t.Titl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t.TemplateDescription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Templat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t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mplateProvide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p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p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t.TemplateProvid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p.Provider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'Company'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20627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screen 3: create list screen (when user choose List type)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1: show info List typ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Title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TypeDescripti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aderImag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Typ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Title = 'List'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2: show all workspace by account 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.Workspace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.Icon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Workspace w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orkspaceMembe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b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b.Workspac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.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b.Account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1320424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D57FE4-70E3-1B5F-CCF9-11A8EB13F5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A4255DC-C8D7-EF03-0A34-D81132ABFE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00FB94B-802A-CACD-3338-346A21899F2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04AA4E-FAC9-2C83-83C4-44AD529451A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572559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5ACB74-3AD0-0E34-F02F-3EABC5E34B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0E32A95-6536-3193-DD80-0A9AD02D0A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25B40CB-1DA1-A424-8384-3FB42873FB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B1E967-2A97-6EA2-F357-FF1925B62E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1623452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screen 4: when user choose templat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1: find list template by 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t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t.Ic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t.Titl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t.Sumary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t.Featur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Templat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t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t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478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2: find sample data for list templat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sr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sr.DisplayOrde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c.Column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sc.CellValu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Templat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t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mplateColum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c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c.ListTemplat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t.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mplateSampleRow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s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sr.ListTemplat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t.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FT 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mplateSampleCell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sc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sc.TemplateSampleRow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sr.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sc.TemplateColumn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c.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t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478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1250884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B33A3A-6ACC-AB08-E680-1ABEE3F680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C9F422A-7A7A-11A9-17A0-8F3CA8AE9B3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4E641E-7494-F124-EB41-351045A7C4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3534E0-16BB-81FB-FD50-ECA5C0B420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294169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3746D8-A98D-E58D-9049-DD11AE3E12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B28D687-1A89-2E5F-24AF-3DB635F0B4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3159022-9C4B-D2E4-03CC-97759A0ECFB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screen 5: list (after user create list)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1: show info list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c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Colo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.Workspace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Lis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S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l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S NOT NULL THEN 1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LSE 0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D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FavoriteList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 l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Workspace w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Workspac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FT 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voriteLis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l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l.List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l.Account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83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2: show list column is visibl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Ic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Column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DataTypeValu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DynamicColum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fi-FI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List l ON l.Id = ldc.List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ystemDataTyp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SystemDataTyp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33 AND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IsVisibl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3: show list data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Column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.DisplayOrde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cv.CellValu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 l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DynamicColum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List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Row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.List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FT 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CellValu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cv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cv.ListRow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.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cv.ListDynamicColumn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33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.DisplayOrder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4: show list view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v.ViewNam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View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v</a:t>
            </a:r>
          </a:p>
          <a:p>
            <a:r>
              <a:rPr lang="fi-FI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List l ON l.Id = lv.List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3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462837-36F6-927C-2D26-2DB45386864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7608646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C219F7-E2DD-C321-295C-84BBBC9F11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FD80503-E601-0929-78FB-B6C64D79E4D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F8AE24E-F718-9012-D15E-DD5440E812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screen 7: List row detail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1: show row detail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Ic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Column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cv.CellValu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 l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DynamicColum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List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Row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.List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FT 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CellValu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cv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cv.ListRow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.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cv.ListDynamicColumn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ystemDataTyp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SystemDataTyp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702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2: show row file attachment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.NameFil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.FileUrl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Row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Attachmen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f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.ListRow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.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702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3: show all comments by row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Firs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Las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Avata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c.Conten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c.CreateAt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RowCommen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c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Row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c.ListRow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c.CreatedBy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998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c.CreateA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SC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F667A2-657E-E247-49AE-886476D7CD9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20054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FC9F89-C2F3-A793-42C1-272DB6F25E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1226814-0B6B-08AB-55DA-46578D02A6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5AF9FE8-F9DE-E7B4-FA00-B650D3094D1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screen 8: Custom column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1: find all column typ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Ic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Display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CoverImag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TypeDescription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ystemDataTyp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2: when user choose column typ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Display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DataTypeValu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s.Key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s.Display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s.ValueTyp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aTypeSettingKey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tsk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ystemDataTyp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tsk.SystemDataTyp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eySetting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s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s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tsk.KeySetting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3: when user choose edit column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Column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ColumnDescripti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Display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DataTypeValu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s.Key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s.ValueTyp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s.DisplayNam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DynamicColum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ystemDataTyp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SystemDataTyp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aTypeSettingKey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tsk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tsk.SystemDataTyp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FT 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ColumnSettingValu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csv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csv.Column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csv.DataTypeSettingKey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tsk.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eySetting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s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s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tsk.KeySetting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2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CC2C7A-97C9-23B8-72BB-7F9175433E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3425121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271600-1335-5F0E-9E0A-E271E66D4F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677D4E5-D91A-3E34-6F44-FD73F4E2A1C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A79FA8D-E17F-3200-B35B-E411E27C7D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82208F-BFBB-563F-7208-942FE8D00B5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2768545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EEB690-28F4-65A8-EEA1-5F74668B56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575360B-D8A8-416A-21D0-2ABDE8FF96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F9E59B4-8498-84F4-0E0A-19755743E4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2: when user choose column typ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Display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DataTypeValu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s.Key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s.Display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s.ValueTyp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aTypeSettingKey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tsk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ystemDataTyp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tsk.SystemDataTyp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eySetting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s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s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tsk.KeySetting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A25693-157E-8626-435E-412ABE75B34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069854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64D124-AD52-D05F-48B0-9D77A512C5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E54FB84-DDE4-EF79-0B16-8407A1C0BF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B62997B-7F9F-6ABB-B078-34878471821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E8FC66-8523-E2EA-FD1D-EE040E3C15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0270152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00D828-DE99-C24D-E243-872AE3CBC4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63D1838-6DF2-7AAE-BCDE-CAAE907963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DB49E58-EA2B-CCB7-0FA3-5E04C0D71F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screen 9: create view for list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1: create view with calendar typ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t.Ic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,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t.Type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s.Display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s.ValueTyp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iewTypeSetting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ts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iewTyp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t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ts.ViewTyp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iewSetting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vs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s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ts.ViewSetting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t.Type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'Calendar'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2: ref column have type DATE for Calendar View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ColumnNam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DynamicColum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ystemDataTyp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SystemDataTyp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fi-FI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List l ON l.Id = ldc.List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DataTypeValu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'DATE' AND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299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3: ref title &amp; subheading column for Calendar View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ColumnNam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DynamicColum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ystemDataTyp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t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dc.SystemDataTyp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fi-FI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List l ON l.Id = ldc.List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2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6E4267-EBDD-9539-944F-6C69E4E88C3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9778387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F24CCA-C3B4-516C-25A0-F98631C06A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75CE4A6-DE49-E700-5150-955A69E3289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98BAD9F-4139-8F56-F348-DB3D094F07B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FDBC40-CBD7-A9E8-6C95-8D976F1C2EA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5610654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145200-00AD-0C3B-E9EF-616CEAC024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9E19716-02C8-0F1D-00E4-9257777E4F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3601E8D-9E80-A4EB-AA21-B965599292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593D24-BE39-C590-93B8-C38EEF31F8F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0503081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28543D-D628-473C-4BCB-F8A9B0CACD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AB78605-2336-D60F-2204-29F9C5E207F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F3AB5A-0E0B-700F-BC74-EEB04461AF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screen 10: share link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1: show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uren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ist nam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Nam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Id = 14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2: show all scope</a:t>
            </a:r>
          </a:p>
          <a:p>
            <a:r>
              <a:rPr lang="it-I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ScopeIcon, ScopeName, ScopeDescription, ScopeCod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Scope 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3: show all permission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rmissionIc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rmission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rmissionDescripti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rmissionCod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Permission 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4: show option if user choose scope 'PUBLIC'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ScopeIc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Scope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ScopeDescription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reLinkOpti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lo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Scope s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lo.Scop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ScopeCod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'PUBLIC'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5: show option if user choose scope 'SPECIFIC'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ScopeIc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Scope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ScopeDescription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reLinkOpti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lo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Scope s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lo.Scop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ScopeCod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'SPECIFIC'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44E4B9-DDEF-66E6-194E-50739D4122F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1254663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FBECC3-2F9C-7525-028D-9555F3D428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C6D18DD-7638-501D-AAB9-79E382CC662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A94F007-CA97-6512-0C20-C5E457CF9D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screen 11: manage access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1: count people have permission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COUNT(*) AS Peopl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MemberPermissi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mp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fi-FI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List l ON l.Id = lmp.List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Permission p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mp.HighestPermission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mp.Account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4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2: show info all user have permission in list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Lis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Avata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Firs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Las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</a:p>
          <a:p>
            <a:r>
              <a:rPr lang="it-I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Email, p.PermissionIcon, p.PermissionNam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MemberPermissi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mp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fi-FI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List l ON l.Id = lmp.List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Permission p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mp.HighestPermission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mp.Account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4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A3AC75-EC55-A7A8-0087-73657FB86AB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5201849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E701D4-58A9-7CEE-FCEC-DD3E9FBC56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A3240BA-C427-A255-9D70-005CB5F234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5DA3D27-537B-60ED-DFB6-AC7EFF9C42B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F9981E-B4A0-7010-8754-B98F8DA8875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965945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747317-0955-6CA9-57BF-464D15FBA2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E67AB7-32E5-AF3F-1F38-02C0C6E0A54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7835A5D-BEBB-0C42-CE71-39414A4A3BB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E890C3-32FC-6F53-F29B-38C21B0261C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70550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536D0E-3DFB-3CBE-9FE3-DEE6F766BA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487C8F1-0B57-4A04-1A2C-AE8B202299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F1B7823-B6F6-5D02-C374-FAADDE7FBF9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screen 12: trash items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1: default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TOP 20 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t.Objec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MAT(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.DeleteA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'M/d/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yyyy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h:mm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')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eDelete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leter.Firs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+ ' ' +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leter.Las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letedBy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eator.Firs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+ ' ' +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eator.Las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eatedBy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.PathItem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iginalLocation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ashItem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creator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eator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.CreateBy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lete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leter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.DeletedBy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bjectTyp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t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.ObjectTyp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2: sort A-Z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bjectNam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TOP 20 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t.Objec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MAT(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.DeleteA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'M/d/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yyyy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h:mm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')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eDelete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leter.Firs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+ ' ' +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leter.Las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letedBy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eator.Firs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+ ' ' +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eator.Las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eatedBy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.PathItem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iginalLocation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ashItem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creator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eator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.CreateBy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lete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leter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.DeletedBy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bjectTyp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t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.ObjectTyp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t.Objec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C;</a:t>
            </a:r>
            <a:b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b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3: sort Z-A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bjectNam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TOP 20 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t.Objec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MAT(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.DeleteA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'M/d/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yyyy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h:mm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')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eDelete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leter.Firs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+ ' ' +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leter.Las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letedBy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eator.Firs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+ ' ' +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eator.Las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eatedBy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.PathItem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iginalLocation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ashItem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creator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eator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.CreateBy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lete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leter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.DeletedBy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bjectTyp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t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.ObjectTyp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t.Objec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SC;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D57B96-95AA-0582-C762-3620C3342D0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2589171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F0447F-1CB7-04D9-0ABB-E37A076060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8AB055D-4B30-A59E-E929-5D5C47DDF8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521A2DD-CFBC-9487-1529-1ED478A5C0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22A52D-A0FB-6089-A27B-06DBDB7300F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1854986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7839310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197984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9540514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63495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28170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623483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screen 1: dashboard &amp; account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1: favorites list from user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c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Colo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.Workspace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ListNam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 l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voriteLis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l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l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l.List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Workspace w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Workspac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2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2: find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cents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ist from user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Lis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c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.Workspace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CreateAt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 l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CreatedBy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Workspace w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Workspac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2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3: find all list from user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Lis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c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.WorkspaceNam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 l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CreatedBy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Workspace w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Workspac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192626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ase 4: find Account by 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Firs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Last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Email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Avata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Company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Account a WHER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712911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5655DA-FFB3-CD96-49C7-13E5BD21EA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BFD26C4-EB8E-F90B-B6B1-637DEBE50D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F10F57F-EAD8-D5E8-5D44-20FF564AF8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438117-AC65-D396-6A73-AA306EAD639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191145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2B1088E-A830-D72F-9D81-51D4D3480FB8}"/>
              </a:ext>
            </a:extLst>
          </p:cNvPr>
          <p:cNvGrpSpPr/>
          <p:nvPr userDrawn="1"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5765E41D-34F7-E790-C1FD-DC00CEE7C50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8FD31BA-980D-D11B-2EEB-4180204D3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 dirty="0"/>
              <a:t>Title, 28pt, </a:t>
            </a:r>
            <a:br>
              <a:rPr lang="en-GB" noProof="0" dirty="0"/>
            </a:br>
            <a:r>
              <a:rPr lang="en-GB" noProof="0" dirty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2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.xml"/><Relationship Id="rId6" Type="http://schemas.openxmlformats.org/officeDocument/2006/relationships/image" Target="../media/image13.jpg"/><Relationship Id="rId11" Type="http://schemas.openxmlformats.org/officeDocument/2006/relationships/image" Target="../media/image18.png"/><Relationship Id="rId5" Type="http://schemas.openxmlformats.org/officeDocument/2006/relationships/image" Target="../media/image1.emf"/><Relationship Id="rId10" Type="http://schemas.openxmlformats.org/officeDocument/2006/relationships/image" Target="../media/image17.svg"/><Relationship Id="rId4" Type="http://schemas.openxmlformats.org/officeDocument/2006/relationships/oleObject" Target="../embeddings/oleObject26.bin"/><Relationship Id="rId9" Type="http://schemas.openxmlformats.org/officeDocument/2006/relationships/image" Target="../media/image16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1.xml"/><Relationship Id="rId6" Type="http://schemas.openxmlformats.org/officeDocument/2006/relationships/image" Target="../media/image23.jp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8.bin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emf"/><Relationship Id="rId3" Type="http://schemas.openxmlformats.org/officeDocument/2006/relationships/notesSlide" Target="../notesSlides/notesSlide35.xml"/><Relationship Id="rId7" Type="http://schemas.openxmlformats.org/officeDocument/2006/relationships/image" Target="../media/image52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.xml"/><Relationship Id="rId6" Type="http://schemas.openxmlformats.org/officeDocument/2006/relationships/image" Target="../media/image51.png"/><Relationship Id="rId5" Type="http://schemas.openxmlformats.org/officeDocument/2006/relationships/image" Target="../media/image50.emf"/><Relationship Id="rId4" Type="http://schemas.openxmlformats.org/officeDocument/2006/relationships/oleObject" Target="../embeddings/oleObject29.bin"/><Relationship Id="rId9" Type="http://schemas.openxmlformats.org/officeDocument/2006/relationships/image" Target="../media/image54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7" Type="http://schemas.openxmlformats.org/officeDocument/2006/relationships/image" Target="../media/image57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.xml"/><Relationship Id="rId6" Type="http://schemas.openxmlformats.org/officeDocument/2006/relationships/image" Target="../media/image56.png"/><Relationship Id="rId5" Type="http://schemas.openxmlformats.org/officeDocument/2006/relationships/image" Target="../media/image55.emf"/><Relationship Id="rId4" Type="http://schemas.openxmlformats.org/officeDocument/2006/relationships/oleObject" Target="../embeddings/oleObject30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9.xml"/><Relationship Id="rId6" Type="http://schemas.openxmlformats.org/officeDocument/2006/relationships/image" Target="../media/image2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0.xml"/><Relationship Id="rId6" Type="http://schemas.openxmlformats.org/officeDocument/2006/relationships/image" Target="../media/image23.jp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8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9AAD92-43CA-AD7C-DB13-043DC4ACD2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21645B3A-A54E-3703-4BCE-C949DA1663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Dashboard Screen</a:t>
            </a:r>
          </a:p>
        </p:txBody>
      </p:sp>
      <p:pic>
        <p:nvPicPr>
          <p:cNvPr id="10" name="Picture Placeholder 9" descr="A screenshot of a computer&#10;&#10;AI-generated content may be incorrect.">
            <a:extLst>
              <a:ext uri="{FF2B5EF4-FFF2-40B4-BE49-F238E27FC236}">
                <a16:creationId xmlns:a16="http://schemas.microsoft.com/office/drawing/2014/main" id="{38A20119-2312-F93D-05B1-8D6F20B5664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21" b="697"/>
          <a:stretch>
            <a:fillRect/>
          </a:stretch>
        </p:blipFill>
        <p:spPr>
          <a:xfrm>
            <a:off x="0" y="1098000"/>
            <a:ext cx="12192000" cy="5760000"/>
          </a:xfrm>
        </p:spPr>
      </p:pic>
    </p:spTree>
    <p:extLst>
      <p:ext uri="{BB962C8B-B14F-4D97-AF65-F5344CB8AC3E}">
        <p14:creationId xmlns:p14="http://schemas.microsoft.com/office/powerpoint/2010/main" val="2391809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F4864C-4583-CC29-9DF4-730C909299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E6482B54-9CF4-9EAB-0CED-7385EC256A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Dashboard Entities</a:t>
            </a:r>
          </a:p>
        </p:txBody>
      </p:sp>
      <p:pic>
        <p:nvPicPr>
          <p:cNvPr id="5" name="Picture Placeholder 4" descr="A screenshot of a computer screen&#10;&#10;AI-generated content may be incorrect.">
            <a:extLst>
              <a:ext uri="{FF2B5EF4-FFF2-40B4-BE49-F238E27FC236}">
                <a16:creationId xmlns:a16="http://schemas.microsoft.com/office/drawing/2014/main" id="{0DC40AF3-674C-83C6-8151-9C93A431E92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8" b="1258"/>
          <a:stretch>
            <a:fillRect/>
          </a:stretch>
        </p:blipFill>
        <p:spPr>
          <a:xfrm>
            <a:off x="431998" y="1302094"/>
            <a:ext cx="11411659" cy="5391335"/>
          </a:xfrm>
        </p:spPr>
      </p:pic>
    </p:spTree>
    <p:extLst>
      <p:ext uri="{BB962C8B-B14F-4D97-AF65-F5344CB8AC3E}">
        <p14:creationId xmlns:p14="http://schemas.microsoft.com/office/powerpoint/2010/main" val="3848186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D81E87-747C-6543-3BEA-28EFF842D4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ED324E93-984D-E97B-F8EA-1AC9A37B60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Dashboard Sample Data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0EEBF2C1-7B83-5A92-108A-2CCA51C6FFA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33"/>
          <a:stretch>
            <a:fillRect/>
          </a:stretch>
        </p:blipFill>
        <p:spPr>
          <a:xfrm>
            <a:off x="431998" y="1098000"/>
            <a:ext cx="11328003" cy="4171812"/>
          </a:xfrm>
        </p:spPr>
      </p:pic>
    </p:spTree>
    <p:extLst>
      <p:ext uri="{BB962C8B-B14F-4D97-AF65-F5344CB8AC3E}">
        <p14:creationId xmlns:p14="http://schemas.microsoft.com/office/powerpoint/2010/main" val="2933613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9AE478-4911-D45A-7A84-ABA3EBD9DD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27524BDD-C6F5-8DBA-E0DD-04E9C990CE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e List Screen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19148836-0D2D-E5BA-C795-DB2F2F3DC4F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09" b="80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639114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926619-FFFF-5302-9D68-83328BFD09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9E4EABAE-EECB-BFE2-DE62-E4E7DE8DA7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Create List Screen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9B0AC3EC-57F2-2BF4-87F3-8DD9EE81AFA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2" t="8009" b="8009"/>
          <a:stretch>
            <a:fillRect/>
          </a:stretch>
        </p:blipFill>
        <p:spPr>
          <a:xfrm>
            <a:off x="431999" y="1199600"/>
            <a:ext cx="11328002" cy="5473408"/>
          </a:xfrm>
        </p:spPr>
      </p:pic>
    </p:spTree>
    <p:extLst>
      <p:ext uri="{BB962C8B-B14F-4D97-AF65-F5344CB8AC3E}">
        <p14:creationId xmlns:p14="http://schemas.microsoft.com/office/powerpoint/2010/main" val="3641699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3CF4D9-2F87-79EA-153C-552F34C2D8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70F1A088-7490-7621-ECF9-0EA7052ACE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Create List From List Type</a:t>
            </a:r>
          </a:p>
        </p:txBody>
      </p:sp>
      <p:pic>
        <p:nvPicPr>
          <p:cNvPr id="6" name="Picture Placeholder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A790497-41CA-ECB4-231B-C6FE0AA7039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09" b="80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405482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CFA0E0-7C8E-06E3-284F-F1B7A6D131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94DC190-E5C8-4167-A117-EA5AB57517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Create List Sample Data</a:t>
            </a:r>
          </a:p>
        </p:txBody>
      </p:sp>
      <p:pic>
        <p:nvPicPr>
          <p:cNvPr id="6" name="Picture Placeholder 5" descr="A diagram of a computer&#10;&#10;AI-generated content may be incorrect.">
            <a:extLst>
              <a:ext uri="{FF2B5EF4-FFF2-40B4-BE49-F238E27FC236}">
                <a16:creationId xmlns:a16="http://schemas.microsoft.com/office/drawing/2014/main" id="{6540A3CE-BEED-12FC-75E0-82A3B40B3D4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28" b="97"/>
          <a:stretch>
            <a:fillRect/>
          </a:stretch>
        </p:blipFill>
        <p:spPr>
          <a:xfrm>
            <a:off x="926628" y="1098000"/>
            <a:ext cx="10338743" cy="5233334"/>
          </a:xfrm>
        </p:spPr>
      </p:pic>
    </p:spTree>
    <p:extLst>
      <p:ext uri="{BB962C8B-B14F-4D97-AF65-F5344CB8AC3E}">
        <p14:creationId xmlns:p14="http://schemas.microsoft.com/office/powerpoint/2010/main" val="2397449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675818-D265-C143-A82E-97E110C519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F0C479B3-9CF2-783C-17BC-3FC2C75EE4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Create List Sample Data</a:t>
            </a:r>
          </a:p>
        </p:txBody>
      </p:sp>
      <p:pic>
        <p:nvPicPr>
          <p:cNvPr id="5" name="Picture Placeholder 4" descr="A list of tasks on a sheet of paper&#10;&#10;AI-generated content may be incorrect.">
            <a:extLst>
              <a:ext uri="{FF2B5EF4-FFF2-40B4-BE49-F238E27FC236}">
                <a16:creationId xmlns:a16="http://schemas.microsoft.com/office/drawing/2014/main" id="{0B4C9DE7-8898-DE59-9B63-5288714AA6E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22"/>
          <a:stretch>
            <a:fillRect/>
          </a:stretch>
        </p:blipFill>
        <p:spPr>
          <a:xfrm>
            <a:off x="431998" y="1098000"/>
            <a:ext cx="11328003" cy="4252727"/>
          </a:xfrm>
        </p:spPr>
      </p:pic>
    </p:spTree>
    <p:extLst>
      <p:ext uri="{BB962C8B-B14F-4D97-AF65-F5344CB8AC3E}">
        <p14:creationId xmlns:p14="http://schemas.microsoft.com/office/powerpoint/2010/main" val="4069575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AF2766-D0DA-8CB6-F748-E2B98E4BD9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C0AE4D48-0173-8042-5B42-8B77034778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Create List From Template</a:t>
            </a:r>
          </a:p>
        </p:txBody>
      </p:sp>
      <p:pic>
        <p:nvPicPr>
          <p:cNvPr id="6" name="Picture Placeholder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A2A84C92-65C8-AE48-DEEA-242353DDFEF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18"/>
          <a:stretch>
            <a:fillRect/>
          </a:stretch>
        </p:blipFill>
        <p:spPr>
          <a:xfrm>
            <a:off x="0" y="1098000"/>
            <a:ext cx="12192000" cy="5760000"/>
          </a:xfrm>
        </p:spPr>
      </p:pic>
    </p:spTree>
    <p:extLst>
      <p:ext uri="{BB962C8B-B14F-4D97-AF65-F5344CB8AC3E}">
        <p14:creationId xmlns:p14="http://schemas.microsoft.com/office/powerpoint/2010/main" val="742914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BEFC20-957F-E597-13A6-F543A870A3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69D86470-0489-106E-14C9-D4696E677B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Template Entities</a:t>
            </a:r>
          </a:p>
        </p:txBody>
      </p:sp>
      <p:pic>
        <p:nvPicPr>
          <p:cNvPr id="15" name="Picture Placeholder 14" descr="A diagram of a computer&#10;&#10;AI-generated content may be incorrect.">
            <a:extLst>
              <a:ext uri="{FF2B5EF4-FFF2-40B4-BE49-F238E27FC236}">
                <a16:creationId xmlns:a16="http://schemas.microsoft.com/office/drawing/2014/main" id="{48EFA83C-8081-CC55-481B-4BB20E5AAD9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4"/>
          <a:stretch>
            <a:fillRect/>
          </a:stretch>
        </p:blipFill>
        <p:spPr>
          <a:xfrm>
            <a:off x="431998" y="1098000"/>
            <a:ext cx="11328003" cy="4077412"/>
          </a:xfrm>
        </p:spPr>
      </p:pic>
    </p:spTree>
    <p:extLst>
      <p:ext uri="{BB962C8B-B14F-4D97-AF65-F5344CB8AC3E}">
        <p14:creationId xmlns:p14="http://schemas.microsoft.com/office/powerpoint/2010/main" val="3678948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3DC8AC8-3EE6-0346-C3D1-617A95A52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bbv Software Services AG  </a:t>
            </a:r>
            <a:r>
              <a:rPr lang="en-GB"/>
              <a:t>|  </a:t>
            </a:r>
            <a:r>
              <a:rPr lang="en-CH"/>
              <a:t>Date</a:t>
            </a:r>
            <a:r>
              <a:rPr lang="en-US"/>
              <a:t>: 21/07/2025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 dirty="0"/>
              <a:t>Ypp 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50EF38-376F-1BD6-5CAC-C19E1A23E3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8BCDE327-815A-7899-3890-2C397D9CA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List Management</a:t>
            </a:r>
          </a:p>
        </p:txBody>
      </p:sp>
      <p:pic>
        <p:nvPicPr>
          <p:cNvPr id="6" name="Picture Placeholder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73945676-F6C4-7CD7-F98C-94A0F487CCC8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18"/>
          <a:stretch>
            <a:fillRect/>
          </a:stretch>
        </p:blipFill>
        <p:spPr>
          <a:xfrm>
            <a:off x="431998" y="1098000"/>
            <a:ext cx="11328003" cy="5351812"/>
          </a:xfrm>
        </p:spPr>
      </p:pic>
    </p:spTree>
    <p:extLst>
      <p:ext uri="{BB962C8B-B14F-4D97-AF65-F5344CB8AC3E}">
        <p14:creationId xmlns:p14="http://schemas.microsoft.com/office/powerpoint/2010/main" val="2065409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74AE94-9C99-2013-F9F0-3E2755DD8A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435C2F91-A801-434C-A0DF-099E4FFF55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List Row Detail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A639445B-7E5C-1C02-5061-D619D35E510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1" t="21596" r="2142" b="5607"/>
          <a:stretch>
            <a:fillRect/>
          </a:stretch>
        </p:blipFill>
        <p:spPr>
          <a:xfrm>
            <a:off x="432000" y="1098000"/>
            <a:ext cx="11328002" cy="4858893"/>
          </a:xfrm>
        </p:spPr>
      </p:pic>
    </p:spTree>
    <p:extLst>
      <p:ext uri="{BB962C8B-B14F-4D97-AF65-F5344CB8AC3E}">
        <p14:creationId xmlns:p14="http://schemas.microsoft.com/office/powerpoint/2010/main" val="3849953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5EF8A1-492E-D225-2B6B-B6D529154D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2F118052-DF54-D4A4-9B78-FE0346D9E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List Column</a:t>
            </a:r>
          </a:p>
        </p:txBody>
      </p:sp>
      <p:pic>
        <p:nvPicPr>
          <p:cNvPr id="11" name="Picture Placeholder 10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5D913B1-935B-382A-D64F-8C493FA4D37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09" b="80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671213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041D4A-5197-4EE0-99C6-D16E6E339D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961D64CC-BB0C-D2E7-5CB6-549EA6FE5E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List Entities</a:t>
            </a:r>
          </a:p>
        </p:txBody>
      </p:sp>
      <p:pic>
        <p:nvPicPr>
          <p:cNvPr id="10" name="Picture Placeholder 9" descr="A screenshot of a computer&#10;&#10;AI-generated content may be incorrect.">
            <a:extLst>
              <a:ext uri="{FF2B5EF4-FFF2-40B4-BE49-F238E27FC236}">
                <a16:creationId xmlns:a16="http://schemas.microsoft.com/office/drawing/2014/main" id="{8C77D46F-883A-4E43-C570-DBE431B0FE43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44"/>
          <a:stretch>
            <a:fillRect/>
          </a:stretch>
        </p:blipFill>
        <p:spPr>
          <a:xfrm>
            <a:off x="431999" y="1098001"/>
            <a:ext cx="11252002" cy="4090242"/>
          </a:xfrm>
        </p:spPr>
      </p:pic>
    </p:spTree>
    <p:extLst>
      <p:ext uri="{BB962C8B-B14F-4D97-AF65-F5344CB8AC3E}">
        <p14:creationId xmlns:p14="http://schemas.microsoft.com/office/powerpoint/2010/main" val="2219475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6E733E-D767-3AC2-04A7-69E5FD9749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8FFE9C9-9C71-D595-387F-F8C47AC843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List Column Setting</a:t>
            </a:r>
          </a:p>
        </p:txBody>
      </p:sp>
      <p:pic>
        <p:nvPicPr>
          <p:cNvPr id="11" name="Picture Placeholder 10" descr="A screenshot of a computer&#10;&#10;AI-generated content may be incorrect.">
            <a:extLst>
              <a:ext uri="{FF2B5EF4-FFF2-40B4-BE49-F238E27FC236}">
                <a16:creationId xmlns:a16="http://schemas.microsoft.com/office/drawing/2014/main" id="{F973A998-350F-4FF5-0F36-2B884A7F75F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09" b="80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585905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F651FE-27B2-BD9A-75FF-96FAB6CC5E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C045AC86-4383-E46B-9025-7140C3927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List Column Setting Entities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80B1A061-7F46-8518-F702-6C65407587B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r="-184" b="566"/>
          <a:stretch>
            <a:fillRect/>
          </a:stretch>
        </p:blipFill>
        <p:spPr>
          <a:xfrm>
            <a:off x="431998" y="1098000"/>
            <a:ext cx="11328003" cy="4657298"/>
          </a:xfrm>
        </p:spPr>
      </p:pic>
    </p:spTree>
    <p:extLst>
      <p:ext uri="{BB962C8B-B14F-4D97-AF65-F5344CB8AC3E}">
        <p14:creationId xmlns:p14="http://schemas.microsoft.com/office/powerpoint/2010/main" val="1673076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0ABCF3-8133-6283-0B32-0AA491A005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25D024FB-41DA-AF68-5E05-C4A9625A49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List View</a:t>
            </a:r>
          </a:p>
        </p:txBody>
      </p:sp>
      <p:pic>
        <p:nvPicPr>
          <p:cNvPr id="15" name="Picture Placeholder 1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A1F1F8A1-2CF5-CB8C-F068-4B27AAB82B8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7" r="180"/>
          <a:stretch>
            <a:fillRect/>
          </a:stretch>
        </p:blipFill>
        <p:spPr>
          <a:xfrm>
            <a:off x="2046514" y="1098000"/>
            <a:ext cx="8098971" cy="5760000"/>
          </a:xfrm>
        </p:spPr>
      </p:pic>
    </p:spTree>
    <p:extLst>
      <p:ext uri="{BB962C8B-B14F-4D97-AF65-F5344CB8AC3E}">
        <p14:creationId xmlns:p14="http://schemas.microsoft.com/office/powerpoint/2010/main" val="3265042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4A687D-585A-D598-01E2-2F6EFA9F76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8D5A7C6D-E99A-546E-A5A6-394C7A2EB5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List View Entities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D730F6A0-CE23-0619-E321-B7F040286C1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 b="-130"/>
          <a:stretch>
            <a:fillRect/>
          </a:stretch>
        </p:blipFill>
        <p:spPr>
          <a:xfrm>
            <a:off x="431998" y="1098001"/>
            <a:ext cx="11324573" cy="4790704"/>
          </a:xfrm>
        </p:spPr>
      </p:pic>
    </p:spTree>
    <p:extLst>
      <p:ext uri="{BB962C8B-B14F-4D97-AF65-F5344CB8AC3E}">
        <p14:creationId xmlns:p14="http://schemas.microsoft.com/office/powerpoint/2010/main" val="983998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32E945-4E22-B789-684A-201150198C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8AAD71D-C359-19F2-4466-45BA7C207E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List View Sample Data</a:t>
            </a:r>
          </a:p>
        </p:txBody>
      </p:sp>
      <p:pic>
        <p:nvPicPr>
          <p:cNvPr id="4" name="Picture Placeholder 3" descr="A screenshot of a computer&#10;&#10;AI-generated content may be incorrect.">
            <a:extLst>
              <a:ext uri="{FF2B5EF4-FFF2-40B4-BE49-F238E27FC236}">
                <a16:creationId xmlns:a16="http://schemas.microsoft.com/office/drawing/2014/main" id="{6AD55256-DB90-15B6-29C3-00DA194F69F3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417"/>
          <a:stretch>
            <a:fillRect/>
          </a:stretch>
        </p:blipFill>
        <p:spPr>
          <a:xfrm>
            <a:off x="431998" y="1098000"/>
            <a:ext cx="11328003" cy="3524498"/>
          </a:xfrm>
        </p:spPr>
      </p:pic>
    </p:spTree>
    <p:extLst>
      <p:ext uri="{BB962C8B-B14F-4D97-AF65-F5344CB8AC3E}">
        <p14:creationId xmlns:p14="http://schemas.microsoft.com/office/powerpoint/2010/main" val="4177852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574176-F051-EECB-CA50-D6E847FEBE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6D8F9AC3-DDC2-5E69-44D4-2103D2376F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Manage Access</a:t>
            </a:r>
          </a:p>
        </p:txBody>
      </p:sp>
      <p:pic>
        <p:nvPicPr>
          <p:cNvPr id="4" name="Picture Placeholder 3" descr="A screenshot of a chat&#10;&#10;AI-generated content may be incorrect.">
            <a:extLst>
              <a:ext uri="{FF2B5EF4-FFF2-40B4-BE49-F238E27FC236}">
                <a16:creationId xmlns:a16="http://schemas.microsoft.com/office/drawing/2014/main" id="{A2D34B8B-3887-EBFA-4D46-8D706754969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09" b="80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498698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188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3B458723-F8F0-9DEE-EB70-04F588D700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t="26389" b="26389"/>
          <a:stretch/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02ED5A7-572B-82DF-E867-D87AF7CFD7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/>
              <a:t>bbv Software Services AG  |  </a:t>
            </a:r>
            <a:r>
              <a:rPr lang="en-CH"/>
              <a:t>Date</a:t>
            </a:r>
            <a:r>
              <a:rPr lang="en-US"/>
              <a:t>: 21/07/2025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Presentation on MS Lists Functionalities</a:t>
            </a:r>
            <a:endParaRPr lang="en-GB" noProof="0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76990F-B249-6611-0800-1DA433F97A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CH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EC3FBF0-6FE4-4ED5-97F7-BC43A1D2912A}"/>
              </a:ext>
            </a:extLst>
          </p:cNvPr>
          <p:cNvGrpSpPr/>
          <p:nvPr/>
        </p:nvGrpSpPr>
        <p:grpSpPr>
          <a:xfrm>
            <a:off x="9595831" y="2346866"/>
            <a:ext cx="1736339" cy="526268"/>
            <a:chOff x="8343600" y="2412129"/>
            <a:chExt cx="2315118" cy="701691"/>
          </a:xfrm>
        </p:grpSpPr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50A1A25B-D699-C973-F9E8-41E61746C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343600" y="2412129"/>
              <a:ext cx="1954171" cy="360000"/>
            </a:xfrm>
            <a:prstGeom prst="rect">
              <a:avLst/>
            </a:prstGeom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80F7C00-B899-BC79-5218-8DD951C055F2}"/>
                </a:ext>
              </a:extLst>
            </p:cNvPr>
            <p:cNvGrpSpPr/>
            <p:nvPr/>
          </p:nvGrpSpPr>
          <p:grpSpPr>
            <a:xfrm>
              <a:off x="8343600" y="2915820"/>
              <a:ext cx="2315118" cy="198000"/>
              <a:chOff x="8343600" y="2903749"/>
              <a:chExt cx="2315118" cy="198000"/>
            </a:xfrm>
          </p:grpSpPr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id="{88E55AF8-2654-F41B-C4A1-D490B9B589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9124668" y="2914533"/>
                <a:ext cx="1534050" cy="180000"/>
              </a:xfrm>
              <a:prstGeom prst="rect">
                <a:avLst/>
              </a:prstGeom>
            </p:spPr>
          </p:pic>
          <p:pic>
            <p:nvPicPr>
              <p:cNvPr id="17" name="Graphic 16">
                <a:extLst>
                  <a:ext uri="{FF2B5EF4-FFF2-40B4-BE49-F238E27FC236}">
                    <a16:creationId xmlns:a16="http://schemas.microsoft.com/office/drawing/2014/main" id="{57BBDFB2-E80D-449C-2D7B-F4BAB3531D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8343600" y="2903749"/>
                <a:ext cx="565068" cy="198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1D3D6D-3269-CDC4-C6FE-1DF37517E2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BBD31A76-AF79-E867-F1D8-269AF3EBA4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Manage Access</a:t>
            </a:r>
          </a:p>
        </p:txBody>
      </p:sp>
      <p:pic>
        <p:nvPicPr>
          <p:cNvPr id="6" name="Picture Placeholder 5" descr="A screenshot of a chat&#10;&#10;AI-generated content may be incorrect.">
            <a:extLst>
              <a:ext uri="{FF2B5EF4-FFF2-40B4-BE49-F238E27FC236}">
                <a16:creationId xmlns:a16="http://schemas.microsoft.com/office/drawing/2014/main" id="{A6299011-E8CA-ECA8-EC51-11439714D8B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09" b="80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779186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846274-33D8-1813-1409-C7BB761757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9F0FAEAA-EE44-CEEB-4EF5-CF4A3D0245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Manage Access Entities</a:t>
            </a:r>
          </a:p>
        </p:txBody>
      </p:sp>
      <p:pic>
        <p:nvPicPr>
          <p:cNvPr id="5" name="Picture Placeholder 4" descr="A diagram of a data flow&#10;&#10;AI-generated content may be incorrect.">
            <a:extLst>
              <a:ext uri="{FF2B5EF4-FFF2-40B4-BE49-F238E27FC236}">
                <a16:creationId xmlns:a16="http://schemas.microsoft.com/office/drawing/2014/main" id="{18C207E9-9D6E-DD67-DB19-1515B410C52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8" r="205"/>
          <a:stretch>
            <a:fillRect/>
          </a:stretch>
        </p:blipFill>
        <p:spPr>
          <a:xfrm>
            <a:off x="1873349" y="1098000"/>
            <a:ext cx="8445301" cy="5243408"/>
          </a:xfrm>
        </p:spPr>
      </p:pic>
    </p:spTree>
    <p:extLst>
      <p:ext uri="{BB962C8B-B14F-4D97-AF65-F5344CB8AC3E}">
        <p14:creationId xmlns:p14="http://schemas.microsoft.com/office/powerpoint/2010/main" val="4119104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CFD0C0-BBE2-736B-6DB9-EEBA4825CD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70661A88-CE61-8704-DE90-3646700B9B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Manage Access Sample Data</a:t>
            </a:r>
          </a:p>
        </p:txBody>
      </p:sp>
      <p:pic>
        <p:nvPicPr>
          <p:cNvPr id="4" name="Picture Placeholder 3" descr="A screenshot of a computer program&#10;&#10;AI-generated content may be incorrect.">
            <a:extLst>
              <a:ext uri="{FF2B5EF4-FFF2-40B4-BE49-F238E27FC236}">
                <a16:creationId xmlns:a16="http://schemas.microsoft.com/office/drawing/2014/main" id="{494C8C31-6CE5-9517-A2A5-6AE0FA29DC6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16"/>
          <a:stretch>
            <a:fillRect/>
          </a:stretch>
        </p:blipFill>
        <p:spPr>
          <a:xfrm>
            <a:off x="431999" y="1098001"/>
            <a:ext cx="11353602" cy="3478398"/>
          </a:xfrm>
        </p:spPr>
      </p:pic>
    </p:spTree>
    <p:extLst>
      <p:ext uri="{BB962C8B-B14F-4D97-AF65-F5344CB8AC3E}">
        <p14:creationId xmlns:p14="http://schemas.microsoft.com/office/powerpoint/2010/main" val="3024083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08F2D4-EE8F-6712-04E7-235CC71B00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463DFA8A-0AB8-71E6-C1B2-00CA521522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Trash</a:t>
            </a:r>
          </a:p>
        </p:txBody>
      </p:sp>
      <p:pic>
        <p:nvPicPr>
          <p:cNvPr id="6" name="Picture Placeholder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F231B2A2-9EEE-B83A-77AB-6E4855A2F87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09" b="9"/>
          <a:stretch>
            <a:fillRect/>
          </a:stretch>
        </p:blipFill>
        <p:spPr>
          <a:xfrm>
            <a:off x="431998" y="1098000"/>
            <a:ext cx="11328003" cy="5351812"/>
          </a:xfrm>
        </p:spPr>
      </p:pic>
    </p:spTree>
    <p:extLst>
      <p:ext uri="{BB962C8B-B14F-4D97-AF65-F5344CB8AC3E}">
        <p14:creationId xmlns:p14="http://schemas.microsoft.com/office/powerpoint/2010/main" val="334640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B03306-D96C-F23E-D98C-D03D105358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3EF90ED-AEED-A160-1BCE-A3CD84AD9E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35B0710-24D8-DC02-9718-E3525B6238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89AC88A2-8CBC-9629-9F61-1ECA954DFD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28F7F58-5182-D291-B326-EF091C452EB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3013249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6465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AD83385-DD69-B7BD-E2B6-0A242990CC3A}"/>
              </a:ext>
            </a:extLst>
          </p:cNvPr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GB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7CC62CD-ACBD-AFB8-0A0A-39B03DAA37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bbv template EN</a:t>
            </a: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E9EDA6E7-CE36-4AD9-EDBC-9B63C56CC212}"/>
              </a:ext>
            </a:extLst>
          </p:cNvPr>
          <p:cNvSpPr txBox="1">
            <a:spLocks/>
          </p:cNvSpPr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4800">
                <a:solidFill>
                  <a:schemeClr val="tx1"/>
                </a:solidFill>
              </a:rPr>
              <a:t>Style guide</a:t>
            </a:r>
          </a:p>
        </p:txBody>
      </p:sp>
    </p:spTree>
    <p:extLst>
      <p:ext uri="{BB962C8B-B14F-4D97-AF65-F5344CB8AC3E}">
        <p14:creationId xmlns:p14="http://schemas.microsoft.com/office/powerpoint/2010/main" val="929431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9D08D-C681-621B-6D02-D7C86EB2F5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574407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9D08D-C681-621B-6D02-D7C86EB2F5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21FF8F91-8C3E-7BFB-9163-B0E6EABC49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 dirty="0"/>
              <a:t>Working area</a:t>
            </a:r>
            <a:r>
              <a:rPr lang="en-GB" noProof="0"/>
              <a:t>, </a:t>
            </a:r>
            <a:r>
              <a:rPr lang="en-GB"/>
              <a:t>g</a:t>
            </a:r>
            <a:r>
              <a:rPr lang="en-GB" noProof="0"/>
              <a:t>uides &amp; ruler</a:t>
            </a:r>
            <a:endParaRPr lang="en-GB" noProof="0" dirty="0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A859A658-FA2C-441F-9AC0-F0763B21CF9F}"/>
              </a:ext>
            </a:extLst>
          </p:cNvPr>
          <p:cNvSpPr txBox="1">
            <a:spLocks/>
          </p:cNvSpPr>
          <p:nvPr/>
        </p:nvSpPr>
        <p:spPr>
          <a:xfrm>
            <a:off x="428626" y="1530000"/>
            <a:ext cx="2316966" cy="4897788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144000" tIns="144000" rIns="96000" bIns="192000" rtlCol="0" anchor="t" anchorCtr="0">
            <a:noAutofit/>
          </a:bodyPr>
          <a:lstStyle>
            <a:lvl1pPr marL="269081" indent="-269081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Font typeface="Arial" panose="020B0604020202020204" pitchFamily="34" charset="0"/>
              <a:buChar char="&gt;"/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6972" indent="-267891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Char char="&gt;"/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272" indent="-270272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50000"/>
              <a:buFontTx/>
              <a:buBlip>
                <a:blip r:embed="rId6"/>
              </a:buBlip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050" kern="600" spc="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050" b="1" kern="600" cap="none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050" kern="600" spc="3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3" defTabSz="914377">
              <a:spcAft>
                <a:spcPts val="1600"/>
              </a:spcAft>
            </a:pPr>
            <a:r>
              <a:rPr lang="en-GB" sz="2133" b="1" kern="1200" spc="40">
                <a:solidFill>
                  <a:schemeClr val="bg1"/>
                </a:solidFill>
                <a:cs typeface="Arial" panose="020B0604020202020204" pitchFamily="34" charset="0"/>
              </a:rPr>
              <a:t>Working area</a:t>
            </a:r>
          </a:p>
          <a:p>
            <a:pPr lvl="3" defTabSz="914377">
              <a:spcAft>
                <a:spcPts val="1600"/>
              </a:spcAft>
            </a:pPr>
            <a:r>
              <a:rPr lang="en-GB" sz="1600" spc="0">
                <a:solidFill>
                  <a:schemeClr val="bg1"/>
                </a:solidFill>
                <a:cs typeface="Arial" panose="020B0604020202020204" pitchFamily="34" charset="0"/>
              </a:rPr>
              <a:t>Depending </a:t>
            </a:r>
            <a:r>
              <a:rPr lang="en-GB" sz="1600" spc="0" dirty="0">
                <a:solidFill>
                  <a:schemeClr val="bg1"/>
                </a:solidFill>
                <a:cs typeface="Arial" panose="020B0604020202020204" pitchFamily="34" charset="0"/>
              </a:rPr>
              <a:t>on the slide, a single-column layout, a 2-column or </a:t>
            </a:r>
            <a:r>
              <a:rPr lang="en-GB" sz="1600" spc="0">
                <a:solidFill>
                  <a:schemeClr val="bg1"/>
                </a:solidFill>
                <a:cs typeface="Arial" panose="020B0604020202020204" pitchFamily="34" charset="0"/>
              </a:rPr>
              <a:t>3-column layout </a:t>
            </a:r>
            <a:r>
              <a:rPr lang="en-GB" sz="1600" spc="0" dirty="0">
                <a:solidFill>
                  <a:schemeClr val="bg1"/>
                </a:solidFill>
                <a:cs typeface="Arial" panose="020B0604020202020204" pitchFamily="34" charset="0"/>
              </a:rPr>
              <a:t>is </a:t>
            </a:r>
            <a:r>
              <a:rPr lang="en-GB" sz="1600" spc="0">
                <a:solidFill>
                  <a:schemeClr val="bg1"/>
                </a:solidFill>
                <a:cs typeface="Arial" panose="020B0604020202020204" pitchFamily="34" charset="0"/>
              </a:rPr>
              <a:t>used.</a:t>
            </a:r>
          </a:p>
          <a:p>
            <a:pPr lvl="3" defTabSz="914377">
              <a:spcAft>
                <a:spcPts val="1600"/>
              </a:spcAft>
            </a:pPr>
            <a:r>
              <a:rPr lang="en-GB" sz="1600" spc="0">
                <a:solidFill>
                  <a:schemeClr val="bg1"/>
                </a:solidFill>
                <a:cs typeface="Arial" panose="020B0604020202020204" pitchFamily="34" charset="0"/>
              </a:rPr>
              <a:t>Display </a:t>
            </a:r>
            <a:r>
              <a:rPr lang="en-GB" sz="1600" spc="0" dirty="0">
                <a:solidFill>
                  <a:schemeClr val="bg1"/>
                </a:solidFill>
                <a:cs typeface="Arial" panose="020B0604020202020204" pitchFamily="34" charset="0"/>
              </a:rPr>
              <a:t>the ruler </a:t>
            </a:r>
            <a:r>
              <a:rPr lang="en-GB" sz="1600" spc="0">
                <a:solidFill>
                  <a:schemeClr val="bg1"/>
                </a:solidFill>
                <a:cs typeface="Arial" panose="020B0604020202020204" pitchFamily="34" charset="0"/>
              </a:rPr>
              <a:t>and guides in the «View» tab.</a:t>
            </a:r>
            <a:endParaRPr lang="en-GB" sz="1600" spc="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3EB0714-12EE-D97E-695E-BE2966E5ABE5}"/>
              </a:ext>
            </a:extLst>
          </p:cNvPr>
          <p:cNvGrpSpPr/>
          <p:nvPr/>
        </p:nvGrpSpPr>
        <p:grpSpPr>
          <a:xfrm>
            <a:off x="3114844" y="4119731"/>
            <a:ext cx="4003530" cy="2218887"/>
            <a:chOff x="3114844" y="4107426"/>
            <a:chExt cx="4003530" cy="2218887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13A2537B-5236-BFB7-524B-3DD23CA1D74E}"/>
                </a:ext>
              </a:extLst>
            </p:cNvPr>
            <p:cNvPicPr>
              <a:picLocks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14845" y="4107426"/>
              <a:ext cx="4003529" cy="22188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14000"/>
                </a:prstClr>
              </a:outerShdw>
            </a:effectLst>
          </p:spPr>
        </p:pic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DC549111-AD4A-25EE-FEA6-1D3C1F65BD7A}"/>
                </a:ext>
              </a:extLst>
            </p:cNvPr>
            <p:cNvGrpSpPr/>
            <p:nvPr/>
          </p:nvGrpSpPr>
          <p:grpSpPr>
            <a:xfrm>
              <a:off x="3114844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2F1C3658-97D3-6C00-6DC2-87EDE705B797}"/>
                  </a:ext>
                </a:extLst>
              </p:cNvPr>
              <p:cNvCxnSpPr/>
              <p:nvPr/>
            </p:nvCxnSpPr>
            <p:spPr>
              <a:xfrm flipH="1">
                <a:off x="541598" y="3710609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03821C4F-C692-C769-6EE4-AD9813E0348E}"/>
                  </a:ext>
                </a:extLst>
              </p:cNvPr>
              <p:cNvCxnSpPr/>
              <p:nvPr/>
            </p:nvCxnSpPr>
            <p:spPr>
              <a:xfrm flipH="1">
                <a:off x="541598" y="5314122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2240FAE6-6894-6C69-99D2-BDAC4339C6F3}"/>
                  </a:ext>
                </a:extLst>
              </p:cNvPr>
              <p:cNvCxnSpPr/>
              <p:nvPr/>
            </p:nvCxnSpPr>
            <p:spPr>
              <a:xfrm flipH="1">
                <a:off x="541598" y="3829879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D86DBA0B-E746-CAE6-975E-43D1E6235AB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60868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F2D66D57-D844-B480-F979-237BC7823C1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040172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11">
                <a:extLst>
                  <a:ext uri="{FF2B5EF4-FFF2-40B4-BE49-F238E27FC236}">
                    <a16:creationId xmlns:a16="http://schemas.microsoft.com/office/drawing/2014/main" id="{7062FD7F-DADE-BEC2-CD6B-ED077363971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358128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E5E1F5C-E147-8C16-63FD-670A0D26408C}"/>
              </a:ext>
            </a:extLst>
          </p:cNvPr>
          <p:cNvGrpSpPr/>
          <p:nvPr/>
        </p:nvGrpSpPr>
        <p:grpSpPr>
          <a:xfrm>
            <a:off x="7758258" y="4107426"/>
            <a:ext cx="4003530" cy="2231192"/>
            <a:chOff x="7758258" y="4107426"/>
            <a:chExt cx="4003530" cy="2231192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24EB346B-274E-5F9D-8604-2205CD31C63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770071" y="4107426"/>
              <a:ext cx="3966563" cy="22311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14000"/>
                </a:prstClr>
              </a:outerShdw>
            </a:effectLst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7C0BD55B-7C6D-BB9B-5A38-A4296BBB37DC}"/>
                </a:ext>
              </a:extLst>
            </p:cNvPr>
            <p:cNvGrpSpPr/>
            <p:nvPr/>
          </p:nvGrpSpPr>
          <p:grpSpPr>
            <a:xfrm>
              <a:off x="7758258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9" name="Straight Connector 8">
                <a:extLst>
                  <a:ext uri="{FF2B5EF4-FFF2-40B4-BE49-F238E27FC236}">
                    <a16:creationId xmlns:a16="http://schemas.microsoft.com/office/drawing/2014/main" id="{CD61FFEA-F3D5-1807-0602-F9F910FB12AE}"/>
                  </a:ext>
                </a:extLst>
              </p:cNvPr>
              <p:cNvCxnSpPr/>
              <p:nvPr/>
            </p:nvCxnSpPr>
            <p:spPr>
              <a:xfrm flipH="1">
                <a:off x="541598" y="3710609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9">
                <a:extLst>
                  <a:ext uri="{FF2B5EF4-FFF2-40B4-BE49-F238E27FC236}">
                    <a16:creationId xmlns:a16="http://schemas.microsoft.com/office/drawing/2014/main" id="{DCF7231E-26CA-B590-5767-023691840C6D}"/>
                  </a:ext>
                </a:extLst>
              </p:cNvPr>
              <p:cNvCxnSpPr/>
              <p:nvPr/>
            </p:nvCxnSpPr>
            <p:spPr>
              <a:xfrm flipH="1">
                <a:off x="541598" y="5314122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10">
                <a:extLst>
                  <a:ext uri="{FF2B5EF4-FFF2-40B4-BE49-F238E27FC236}">
                    <a16:creationId xmlns:a16="http://schemas.microsoft.com/office/drawing/2014/main" id="{C365974E-EBB9-DAC7-C321-409C3A45B35B}"/>
                  </a:ext>
                </a:extLst>
              </p:cNvPr>
              <p:cNvCxnSpPr/>
              <p:nvPr/>
            </p:nvCxnSpPr>
            <p:spPr>
              <a:xfrm flipH="1">
                <a:off x="541598" y="3829879"/>
                <a:ext cx="3614791" cy="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B1F6BEA7-3B6E-D548-FF6A-DBB5B305989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60868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04D7ED54-7F91-5F11-03C3-C75492403F4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040172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792ABAD1-3281-E374-C681-8A6448CCE93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814045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2589A4CA-E388-F4FA-481A-2E910C59094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969463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65080682-2C00-78A6-D1AA-AEC9A8A74F7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875078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BA9BEFB6-752E-7370-27FD-8C26383E192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743261" y="3398103"/>
                <a:ext cx="0" cy="2030400"/>
              </a:xfrm>
              <a:prstGeom prst="line">
                <a:avLst/>
              </a:prstGeom>
              <a:ln w="22225">
                <a:solidFill>
                  <a:srgbClr val="6697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EB26F25-DCAD-B756-ABB6-72F3DFC98C38}"/>
              </a:ext>
            </a:extLst>
          </p:cNvPr>
          <p:cNvGrpSpPr/>
          <p:nvPr/>
        </p:nvGrpSpPr>
        <p:grpSpPr>
          <a:xfrm>
            <a:off x="5095554" y="2157413"/>
            <a:ext cx="4608000" cy="1404000"/>
            <a:chOff x="5778424" y="2265151"/>
            <a:chExt cx="4608000" cy="1404000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DF54B766-9C28-2E6D-19EE-02A2A80C12A8}"/>
                </a:ext>
              </a:extLst>
            </p:cNvPr>
            <p:cNvSpPr/>
            <p:nvPr/>
          </p:nvSpPr>
          <p:spPr>
            <a:xfrm>
              <a:off x="5778424" y="2265151"/>
              <a:ext cx="4608000" cy="140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1000" sy="101000" algn="ctr" rotWithShape="0">
                <a:prstClr val="black">
                  <a:alpha val="1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>
                <a:spcAft>
                  <a:spcPts val="600"/>
                </a:spcAft>
              </a:pPr>
              <a:endParaRPr lang="en-GB" dirty="0">
                <a:solidFill>
                  <a:schemeClr val="bg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EBB7C30-08ED-50E3-7360-901FFA1524F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910997" y="2391151"/>
              <a:ext cx="4342855" cy="1152000"/>
            </a:xfrm>
            <a:prstGeom prst="rect">
              <a:avLst/>
            </a:prstGeom>
          </p:spPr>
        </p:pic>
        <p:sp>
          <p:nvSpPr>
            <p:cNvPr id="37" name="Rechteck 39">
              <a:extLst>
                <a:ext uri="{FF2B5EF4-FFF2-40B4-BE49-F238E27FC236}">
                  <a16:creationId xmlns:a16="http://schemas.microsoft.com/office/drawing/2014/main" id="{B151FE23-F8EB-4345-9784-8F88742DF4F8}"/>
                </a:ext>
              </a:extLst>
            </p:cNvPr>
            <p:cNvSpPr/>
            <p:nvPr/>
          </p:nvSpPr>
          <p:spPr>
            <a:xfrm>
              <a:off x="9288585" y="2416151"/>
              <a:ext cx="467530" cy="303877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21" name="Rechteck 38">
              <a:extLst>
                <a:ext uri="{FF2B5EF4-FFF2-40B4-BE49-F238E27FC236}">
                  <a16:creationId xmlns:a16="http://schemas.microsoft.com/office/drawing/2014/main" id="{622FA0D9-AA97-D2D3-0906-B31FB1D2BC0C}"/>
                </a:ext>
              </a:extLst>
            </p:cNvPr>
            <p:cNvSpPr/>
            <p:nvPr/>
          </p:nvSpPr>
          <p:spPr>
            <a:xfrm>
              <a:off x="6252738" y="2692301"/>
              <a:ext cx="540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18" name="Rechteck 38">
              <a:extLst>
                <a:ext uri="{FF2B5EF4-FFF2-40B4-BE49-F238E27FC236}">
                  <a16:creationId xmlns:a16="http://schemas.microsoft.com/office/drawing/2014/main" id="{663C73C9-21C2-3246-C3C8-54C015D2FCC1}"/>
                </a:ext>
              </a:extLst>
            </p:cNvPr>
            <p:cNvSpPr/>
            <p:nvPr/>
          </p:nvSpPr>
          <p:spPr>
            <a:xfrm>
              <a:off x="6252738" y="3109001"/>
              <a:ext cx="612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>
              <a:solidFill>
                <a:srgbClr val="F398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32546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A5D1D3E-5F5F-6A74-49D1-7A46D47281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A5D1D3E-5F5F-6A74-49D1-7A46D47281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12ACD15-79D2-1E7F-AC15-4CCE7313BC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10143236" cy="1098000"/>
          </a:xfrm>
        </p:spPr>
        <p:txBody>
          <a:bodyPr vert="horz"/>
          <a:lstStyle/>
          <a:p>
            <a:r>
              <a:rPr lang="en-GB">
                <a:cs typeface="Arial" panose="020B0604020202020204" pitchFamily="34" charset="0"/>
              </a:rPr>
              <a:t>bbv colour theme</a:t>
            </a:r>
          </a:p>
        </p:txBody>
      </p:sp>
      <p:cxnSp>
        <p:nvCxnSpPr>
          <p:cNvPr id="24" name="Straight Connector 26">
            <a:extLst>
              <a:ext uri="{FF2B5EF4-FFF2-40B4-BE49-F238E27FC236}">
                <a16:creationId xmlns:a16="http://schemas.microsoft.com/office/drawing/2014/main" id="{3502B8B4-5563-855A-290D-8B551332CFF4}"/>
              </a:ext>
            </a:extLst>
          </p:cNvPr>
          <p:cNvCxnSpPr>
            <a:cxnSpLocks/>
          </p:cNvCxnSpPr>
          <p:nvPr/>
        </p:nvCxnSpPr>
        <p:spPr>
          <a:xfrm>
            <a:off x="4456762" y="2173030"/>
            <a:ext cx="0" cy="4254758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51070854-6963-DEFB-F539-1E959A27C1EE}"/>
              </a:ext>
            </a:extLst>
          </p:cNvPr>
          <p:cNvSpPr txBox="1">
            <a:spLocks/>
          </p:cNvSpPr>
          <p:nvPr/>
        </p:nvSpPr>
        <p:spPr>
          <a:xfrm>
            <a:off x="6500129" y="3218607"/>
            <a:ext cx="1334619" cy="4308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defPPr>
              <a:defRPr lang="de-DE"/>
            </a:defPPr>
            <a:lvl1pPr indent="0" algn="ctr" defTabSz="68580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914377">
              <a:spcBef>
                <a:spcPts val="1000"/>
              </a:spcBef>
              <a:defRPr/>
            </a:pP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Main </a:t>
            </a:r>
            <a:b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</a:b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accent</a:t>
            </a:r>
          </a:p>
        </p:txBody>
      </p:sp>
      <p:sp>
        <p:nvSpPr>
          <p:cNvPr id="37" name="Rectangle 10">
            <a:extLst>
              <a:ext uri="{FF2B5EF4-FFF2-40B4-BE49-F238E27FC236}">
                <a16:creationId xmlns:a16="http://schemas.microsoft.com/office/drawing/2014/main" id="{BF297A7F-6349-4515-A106-11D80EA77376}"/>
              </a:ext>
            </a:extLst>
          </p:cNvPr>
          <p:cNvSpPr/>
          <p:nvPr/>
        </p:nvSpPr>
        <p:spPr>
          <a:xfrm>
            <a:off x="6872824" y="2173030"/>
            <a:ext cx="602773" cy="54589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8" name="Rectangle 11">
            <a:extLst>
              <a:ext uri="{FF2B5EF4-FFF2-40B4-BE49-F238E27FC236}">
                <a16:creationId xmlns:a16="http://schemas.microsoft.com/office/drawing/2014/main" id="{542073DE-1986-A9FF-D88E-7B72D00769F0}"/>
              </a:ext>
            </a:extLst>
          </p:cNvPr>
          <p:cNvSpPr>
            <a:spLocks/>
          </p:cNvSpPr>
          <p:nvPr/>
        </p:nvSpPr>
        <p:spPr>
          <a:xfrm>
            <a:off x="9021671" y="2173030"/>
            <a:ext cx="602773" cy="5458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9" name="Rectangle 12">
            <a:extLst>
              <a:ext uri="{FF2B5EF4-FFF2-40B4-BE49-F238E27FC236}">
                <a16:creationId xmlns:a16="http://schemas.microsoft.com/office/drawing/2014/main" id="{6267D1A1-B1A6-8DFE-0C1F-9FADCE012A0B}"/>
              </a:ext>
            </a:extLst>
          </p:cNvPr>
          <p:cNvSpPr>
            <a:spLocks/>
          </p:cNvSpPr>
          <p:nvPr/>
        </p:nvSpPr>
        <p:spPr>
          <a:xfrm>
            <a:off x="9736741" y="2173030"/>
            <a:ext cx="602773" cy="54589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0" name="Rectangle 13">
            <a:extLst>
              <a:ext uri="{FF2B5EF4-FFF2-40B4-BE49-F238E27FC236}">
                <a16:creationId xmlns:a16="http://schemas.microsoft.com/office/drawing/2014/main" id="{B6B698BE-5FFE-365B-EE0B-61C783F93716}"/>
              </a:ext>
            </a:extLst>
          </p:cNvPr>
          <p:cNvSpPr/>
          <p:nvPr/>
        </p:nvSpPr>
        <p:spPr>
          <a:xfrm>
            <a:off x="5440259" y="2173030"/>
            <a:ext cx="602773" cy="54589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1" name="Rectangle 15">
            <a:extLst>
              <a:ext uri="{FF2B5EF4-FFF2-40B4-BE49-F238E27FC236}">
                <a16:creationId xmlns:a16="http://schemas.microsoft.com/office/drawing/2014/main" id="{B4482B20-22EB-AFBD-A517-E90318FF330F}"/>
              </a:ext>
            </a:extLst>
          </p:cNvPr>
          <p:cNvSpPr>
            <a:spLocks/>
          </p:cNvSpPr>
          <p:nvPr/>
        </p:nvSpPr>
        <p:spPr>
          <a:xfrm>
            <a:off x="8305389" y="2173030"/>
            <a:ext cx="602773" cy="5458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2" name="Rectangle 16">
            <a:extLst>
              <a:ext uri="{FF2B5EF4-FFF2-40B4-BE49-F238E27FC236}">
                <a16:creationId xmlns:a16="http://schemas.microsoft.com/office/drawing/2014/main" id="{3FCA52B9-2683-2430-5EAE-7CBE386D5ECF}"/>
              </a:ext>
            </a:extLst>
          </p:cNvPr>
          <p:cNvSpPr>
            <a:spLocks/>
          </p:cNvSpPr>
          <p:nvPr/>
        </p:nvSpPr>
        <p:spPr>
          <a:xfrm>
            <a:off x="11169312" y="2173030"/>
            <a:ext cx="602773" cy="54589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3" name="Rectangle 23">
            <a:extLst>
              <a:ext uri="{FF2B5EF4-FFF2-40B4-BE49-F238E27FC236}">
                <a16:creationId xmlns:a16="http://schemas.microsoft.com/office/drawing/2014/main" id="{6FC59556-31EC-322A-94B7-01F06801B3BE}"/>
              </a:ext>
            </a:extLst>
          </p:cNvPr>
          <p:cNvSpPr>
            <a:spLocks/>
          </p:cNvSpPr>
          <p:nvPr/>
        </p:nvSpPr>
        <p:spPr>
          <a:xfrm>
            <a:off x="10453025" y="2172971"/>
            <a:ext cx="602773" cy="5451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4" name="Rectangle 10">
            <a:extLst>
              <a:ext uri="{FF2B5EF4-FFF2-40B4-BE49-F238E27FC236}">
                <a16:creationId xmlns:a16="http://schemas.microsoft.com/office/drawing/2014/main" id="{2D82BD4E-4B06-B5BD-7E1B-F8065FC0B380}"/>
              </a:ext>
            </a:extLst>
          </p:cNvPr>
          <p:cNvSpPr/>
          <p:nvPr/>
        </p:nvSpPr>
        <p:spPr>
          <a:xfrm>
            <a:off x="7589112" y="2173030"/>
            <a:ext cx="602773" cy="5458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5" name="Rectangle 13">
            <a:extLst>
              <a:ext uri="{FF2B5EF4-FFF2-40B4-BE49-F238E27FC236}">
                <a16:creationId xmlns:a16="http://schemas.microsoft.com/office/drawing/2014/main" id="{BDD07FB3-1A6F-4329-4EEB-51F3AF841F8B}"/>
              </a:ext>
            </a:extLst>
          </p:cNvPr>
          <p:cNvSpPr/>
          <p:nvPr/>
        </p:nvSpPr>
        <p:spPr>
          <a:xfrm>
            <a:off x="4723977" y="2173030"/>
            <a:ext cx="602773" cy="54589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Rectangle 13">
            <a:extLst>
              <a:ext uri="{FF2B5EF4-FFF2-40B4-BE49-F238E27FC236}">
                <a16:creationId xmlns:a16="http://schemas.microsoft.com/office/drawing/2014/main" id="{3037C319-F1F5-AA2C-867D-9EDCED62CE4E}"/>
              </a:ext>
            </a:extLst>
          </p:cNvPr>
          <p:cNvSpPr/>
          <p:nvPr/>
        </p:nvSpPr>
        <p:spPr>
          <a:xfrm>
            <a:off x="6151988" y="2173030"/>
            <a:ext cx="602773" cy="545895"/>
          </a:xfrm>
          <a:prstGeom prst="rect">
            <a:avLst/>
          </a:prstGeom>
          <a:solidFill>
            <a:schemeClr val="bg2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E6CB15D7-FCA5-7B38-1136-3C6AAE9D6BCA}"/>
              </a:ext>
            </a:extLst>
          </p:cNvPr>
          <p:cNvGrpSpPr/>
          <p:nvPr/>
        </p:nvGrpSpPr>
        <p:grpSpPr>
          <a:xfrm>
            <a:off x="6869090" y="2885608"/>
            <a:ext cx="602764" cy="217375"/>
            <a:chOff x="4697470" y="3209372"/>
            <a:chExt cx="433615" cy="163031"/>
          </a:xfrm>
        </p:grpSpPr>
        <p:cxnSp>
          <p:nvCxnSpPr>
            <p:cNvPr id="63" name="Gerader Verbinder 50">
              <a:extLst>
                <a:ext uri="{FF2B5EF4-FFF2-40B4-BE49-F238E27FC236}">
                  <a16:creationId xmlns:a16="http://schemas.microsoft.com/office/drawing/2014/main" id="{30147869-7ACF-36DB-4F1A-F1241569DD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832764" y="3290888"/>
              <a:ext cx="163031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55">
              <a:extLst>
                <a:ext uri="{FF2B5EF4-FFF2-40B4-BE49-F238E27FC236}">
                  <a16:creationId xmlns:a16="http://schemas.microsoft.com/office/drawing/2014/main" id="{D27EBFFB-9E9E-055D-004F-E654BC243CEB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914278" y="2992565"/>
              <a:ext cx="0" cy="4336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68457190-0A22-6AE7-0613-EAFB0E4EDA7A}"/>
              </a:ext>
            </a:extLst>
          </p:cNvPr>
          <p:cNvSpPr txBox="1">
            <a:spLocks/>
          </p:cNvSpPr>
          <p:nvPr/>
        </p:nvSpPr>
        <p:spPr>
          <a:xfrm>
            <a:off x="428625" y="2157413"/>
            <a:ext cx="2124000" cy="4270367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outerShdw blurRad="226714" sx="101000" sy="101000" algn="ctr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t"/>
          <a:lstStyle>
            <a:defPPr>
              <a:defRPr lang="en-US"/>
            </a:defPPr>
            <a:lvl1pPr marR="0" lvl="0" indent="0" defTabSz="914354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 kumimoji="0" sz="1867" b="0" i="0" u="none" strike="noStrike" kern="6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 panose="020B0504020202020204" pitchFamily="34" charset="7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5"/>
            <a:endParaRPr lang="en-GB"/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DDF9E67B-364E-CE6C-EB0C-B76C55340C8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610" y="2406096"/>
            <a:ext cx="1966241" cy="1413236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8CCE4E69-5EEE-9D0E-B04E-7285D2BB550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1547"/>
          <a:stretch/>
        </p:blipFill>
        <p:spPr>
          <a:xfrm>
            <a:off x="511071" y="4046276"/>
            <a:ext cx="1972780" cy="687100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EBFAB6F1-F8A0-F09B-1743-2517E56AFDB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635"/>
          <a:stretch/>
        </p:blipFill>
        <p:spPr>
          <a:xfrm>
            <a:off x="511071" y="5694748"/>
            <a:ext cx="1972780" cy="542576"/>
          </a:xfrm>
          <a:prstGeom prst="rect">
            <a:avLst/>
          </a:prstGeom>
        </p:spPr>
      </p:pic>
      <p:pic>
        <p:nvPicPr>
          <p:cNvPr id="73" name="Picture 72">
            <a:extLst>
              <a:ext uri="{FF2B5EF4-FFF2-40B4-BE49-F238E27FC236}">
                <a16:creationId xmlns:a16="http://schemas.microsoft.com/office/drawing/2014/main" id="{45661B9B-D5E3-182F-E947-D0128C0AA7E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500" b="29135"/>
          <a:stretch/>
        </p:blipFill>
        <p:spPr>
          <a:xfrm>
            <a:off x="511071" y="4936926"/>
            <a:ext cx="1972780" cy="542576"/>
          </a:xfrm>
          <a:prstGeom prst="rect">
            <a:avLst/>
          </a:prstGeom>
        </p:spPr>
      </p:pic>
      <p:grpSp>
        <p:nvGrpSpPr>
          <p:cNvPr id="88" name="Group 87">
            <a:extLst>
              <a:ext uri="{FF2B5EF4-FFF2-40B4-BE49-F238E27FC236}">
                <a16:creationId xmlns:a16="http://schemas.microsoft.com/office/drawing/2014/main" id="{71BB6457-5525-9629-8AB0-65A18A235CBC}"/>
              </a:ext>
            </a:extLst>
          </p:cNvPr>
          <p:cNvGrpSpPr/>
          <p:nvPr/>
        </p:nvGrpSpPr>
        <p:grpSpPr>
          <a:xfrm>
            <a:off x="524672" y="4936926"/>
            <a:ext cx="1959179" cy="1300399"/>
            <a:chOff x="497501" y="3256429"/>
            <a:chExt cx="1873031" cy="1211928"/>
          </a:xfrm>
        </p:grpSpPr>
        <p:sp>
          <p:nvSpPr>
            <p:cNvPr id="85" name="Freihandform: Form 52">
              <a:extLst>
                <a:ext uri="{FF2B5EF4-FFF2-40B4-BE49-F238E27FC236}">
                  <a16:creationId xmlns:a16="http://schemas.microsoft.com/office/drawing/2014/main" id="{A25499F5-432B-5786-1DDB-D6E7665566EA}"/>
                </a:ext>
              </a:extLst>
            </p:cNvPr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1219170">
                <a:defRPr/>
              </a:pPr>
              <a:endParaRPr lang="en-GB" sz="1467">
                <a:solidFill>
                  <a:prstClr val="black"/>
                </a:solidFill>
                <a:sym typeface="Arial" panose="020B0604020202020204" pitchFamily="34" charset="0"/>
              </a:endParaRPr>
            </a:p>
          </p:txBody>
        </p:sp>
        <p:cxnSp>
          <p:nvCxnSpPr>
            <p:cNvPr id="86" name="Straight Connector 83">
              <a:extLst>
                <a:ext uri="{FF2B5EF4-FFF2-40B4-BE49-F238E27FC236}">
                  <a16:creationId xmlns:a16="http://schemas.microsoft.com/office/drawing/2014/main" id="{8F2EF6F2-A981-4FA6-9F40-1344865D464D}"/>
                </a:ext>
              </a:extLst>
            </p:cNvPr>
            <p:cNvCxnSpPr>
              <a:cxnSpLocks/>
            </p:cNvCxnSpPr>
            <p:nvPr/>
          </p:nvCxnSpPr>
          <p:spPr>
            <a:xfrm>
              <a:off x="504098" y="3281637"/>
              <a:ext cx="1866433" cy="1186720"/>
            </a:xfrm>
            <a:prstGeom prst="line">
              <a:avLst/>
            </a:prstGeom>
            <a:solidFill>
              <a:schemeClr val="accent6">
                <a:alpha val="20000"/>
              </a:scheme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" name="Straight Connector 84">
              <a:extLst>
                <a:ext uri="{FF2B5EF4-FFF2-40B4-BE49-F238E27FC236}">
                  <a16:creationId xmlns:a16="http://schemas.microsoft.com/office/drawing/2014/main" id="{7AED2BEF-C789-80A3-D9F1-69583B9995E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28242" y="3281637"/>
              <a:ext cx="1832279" cy="1186720"/>
            </a:xfrm>
            <a:prstGeom prst="line">
              <a:avLst/>
            </a:prstGeom>
            <a:solidFill>
              <a:schemeClr val="accent6">
                <a:alpha val="20000"/>
              </a:scheme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89" name="Content Placeholder 2">
            <a:extLst>
              <a:ext uri="{FF2B5EF4-FFF2-40B4-BE49-F238E27FC236}">
                <a16:creationId xmlns:a16="http://schemas.microsoft.com/office/drawing/2014/main" id="{76210D49-14BB-7F13-F155-DA8F8436C939}"/>
              </a:ext>
            </a:extLst>
          </p:cNvPr>
          <p:cNvSpPr txBox="1">
            <a:spLocks/>
          </p:cNvSpPr>
          <p:nvPr/>
        </p:nvSpPr>
        <p:spPr>
          <a:xfrm>
            <a:off x="3094780" y="2533796"/>
            <a:ext cx="1326145" cy="424777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39">
              <a:lnSpc>
                <a:spcPct val="100000"/>
              </a:lnSpc>
              <a:spcBef>
                <a:spcPts val="1333"/>
              </a:spcBef>
              <a:buNone/>
              <a:defRPr/>
            </a:pPr>
            <a:r>
              <a:rPr lang="en-GB" sz="1200">
                <a:cs typeface="Arial" panose="020B0604020202020204" pitchFamily="34" charset="0"/>
                <a:sym typeface="Arial" panose="020B0604020202020204" pitchFamily="34" charset="0"/>
              </a:rPr>
              <a:t>Always OK!</a:t>
            </a:r>
          </a:p>
        </p:txBody>
      </p:sp>
      <p:sp>
        <p:nvSpPr>
          <p:cNvPr id="90" name="Content Placeholder 2">
            <a:extLst>
              <a:ext uri="{FF2B5EF4-FFF2-40B4-BE49-F238E27FC236}">
                <a16:creationId xmlns:a16="http://schemas.microsoft.com/office/drawing/2014/main" id="{0F98E6AA-04F9-D5A2-B375-3E8470C5243D}"/>
              </a:ext>
            </a:extLst>
          </p:cNvPr>
          <p:cNvSpPr txBox="1">
            <a:spLocks/>
          </p:cNvSpPr>
          <p:nvPr/>
        </p:nvSpPr>
        <p:spPr>
          <a:xfrm>
            <a:off x="3094781" y="3162271"/>
            <a:ext cx="1109834" cy="424777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39">
              <a:lnSpc>
                <a:spcPct val="100000"/>
              </a:lnSpc>
              <a:spcBef>
                <a:spcPts val="1333"/>
              </a:spcBef>
              <a:buNone/>
              <a:defRPr/>
            </a:pPr>
            <a:r>
              <a:rPr lang="en-GB" sz="1200">
                <a:solidFill>
                  <a:schemeClr val="tx2"/>
                </a:solidFill>
                <a:cs typeface="Arial" panose="020B0604020202020204" pitchFamily="34" charset="0"/>
                <a:sym typeface="Arial" panose="020B0604020202020204" pitchFamily="34" charset="0"/>
              </a:rPr>
              <a:t>Never, please!</a:t>
            </a:r>
          </a:p>
        </p:txBody>
      </p:sp>
      <p:sp>
        <p:nvSpPr>
          <p:cNvPr id="91" name="Content Placeholder 2">
            <a:extLst>
              <a:ext uri="{FF2B5EF4-FFF2-40B4-BE49-F238E27FC236}">
                <a16:creationId xmlns:a16="http://schemas.microsoft.com/office/drawing/2014/main" id="{ECE9CF5B-EFB5-798A-FA72-10A3A4BB1176}"/>
              </a:ext>
            </a:extLst>
          </p:cNvPr>
          <p:cNvSpPr txBox="1">
            <a:spLocks/>
          </p:cNvSpPr>
          <p:nvPr/>
        </p:nvSpPr>
        <p:spPr>
          <a:xfrm>
            <a:off x="3094775" y="5362856"/>
            <a:ext cx="1109837" cy="424777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39">
              <a:lnSpc>
                <a:spcPct val="100000"/>
              </a:lnSpc>
              <a:spcBef>
                <a:spcPts val="1333"/>
              </a:spcBef>
              <a:buNone/>
              <a:defRPr/>
            </a:pPr>
            <a:r>
              <a:rPr lang="en-GB" sz="1200">
                <a:solidFill>
                  <a:srgbClr val="E30613"/>
                </a:solidFill>
                <a:cs typeface="Arial" panose="020B0604020202020204" pitchFamily="34" charset="0"/>
                <a:sym typeface="Arial" panose="020B0604020202020204" pitchFamily="34" charset="0"/>
              </a:rPr>
              <a:t>Never, please!</a:t>
            </a:r>
          </a:p>
        </p:txBody>
      </p:sp>
      <p:grpSp>
        <p:nvGrpSpPr>
          <p:cNvPr id="92" name="Group 91">
            <a:extLst>
              <a:ext uri="{FF2B5EF4-FFF2-40B4-BE49-F238E27FC236}">
                <a16:creationId xmlns:a16="http://schemas.microsoft.com/office/drawing/2014/main" id="{78ECAFE4-B27A-4EB0-98FD-87F06435B6D5}"/>
              </a:ext>
            </a:extLst>
          </p:cNvPr>
          <p:cNvGrpSpPr/>
          <p:nvPr/>
        </p:nvGrpSpPr>
        <p:grpSpPr>
          <a:xfrm>
            <a:off x="2709977" y="2656723"/>
            <a:ext cx="217375" cy="189729"/>
            <a:chOff x="5954751" y="2230813"/>
            <a:chExt cx="356839" cy="232815"/>
          </a:xfrm>
        </p:grpSpPr>
        <p:cxnSp>
          <p:nvCxnSpPr>
            <p:cNvPr id="93" name="Gerader Verbinder 50">
              <a:extLst>
                <a:ext uri="{FF2B5EF4-FFF2-40B4-BE49-F238E27FC236}">
                  <a16:creationId xmlns:a16="http://schemas.microsoft.com/office/drawing/2014/main" id="{EDE750EE-4DE6-2F33-2CC5-A01970DC65A6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347220"/>
              <a:ext cx="356839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r Verbinder 55">
              <a:extLst>
                <a:ext uri="{FF2B5EF4-FFF2-40B4-BE49-F238E27FC236}">
                  <a16:creationId xmlns:a16="http://schemas.microsoft.com/office/drawing/2014/main" id="{31572E6B-0791-A08D-8B8C-A17A1B26264E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230813"/>
              <a:ext cx="0" cy="2328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39E5EEA2-546B-1754-01C2-57FB7D291A62}"/>
              </a:ext>
            </a:extLst>
          </p:cNvPr>
          <p:cNvGrpSpPr/>
          <p:nvPr/>
        </p:nvGrpSpPr>
        <p:grpSpPr>
          <a:xfrm>
            <a:off x="2709977" y="2931578"/>
            <a:ext cx="217375" cy="887752"/>
            <a:chOff x="5954751" y="2230813"/>
            <a:chExt cx="356839" cy="232815"/>
          </a:xfrm>
        </p:grpSpPr>
        <p:cxnSp>
          <p:nvCxnSpPr>
            <p:cNvPr id="96" name="Gerader Verbinder 50">
              <a:extLst>
                <a:ext uri="{FF2B5EF4-FFF2-40B4-BE49-F238E27FC236}">
                  <a16:creationId xmlns:a16="http://schemas.microsoft.com/office/drawing/2014/main" id="{74BDB173-1196-C9FB-BCF7-4B86D4738F96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347220"/>
              <a:ext cx="356839" cy="0"/>
            </a:xfrm>
            <a:prstGeom prst="line">
              <a:avLst/>
            </a:prstGeom>
            <a:ln w="6350">
              <a:solidFill>
                <a:schemeClr val="tx2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r Verbinder 55">
              <a:extLst>
                <a:ext uri="{FF2B5EF4-FFF2-40B4-BE49-F238E27FC236}">
                  <a16:creationId xmlns:a16="http://schemas.microsoft.com/office/drawing/2014/main" id="{3808B50C-4300-D802-95A5-A5810673A490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230813"/>
              <a:ext cx="0" cy="232815"/>
            </a:xfrm>
            <a:prstGeom prst="line">
              <a:avLst/>
            </a:prstGeom>
            <a:ln w="6350">
              <a:solidFill>
                <a:schemeClr val="tx2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C66822E5-DF56-E7DE-D31C-B43518D4FABA}"/>
              </a:ext>
            </a:extLst>
          </p:cNvPr>
          <p:cNvGrpSpPr/>
          <p:nvPr/>
        </p:nvGrpSpPr>
        <p:grpSpPr>
          <a:xfrm>
            <a:off x="2709977" y="4936926"/>
            <a:ext cx="217375" cy="1313642"/>
            <a:chOff x="5954751" y="2230813"/>
            <a:chExt cx="356839" cy="232815"/>
          </a:xfrm>
        </p:grpSpPr>
        <p:cxnSp>
          <p:nvCxnSpPr>
            <p:cNvPr id="99" name="Gerader Verbinder 50">
              <a:extLst>
                <a:ext uri="{FF2B5EF4-FFF2-40B4-BE49-F238E27FC236}">
                  <a16:creationId xmlns:a16="http://schemas.microsoft.com/office/drawing/2014/main" id="{485F3C5D-B2EA-4B74-1C8A-06496510119F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347220"/>
              <a:ext cx="356839" cy="0"/>
            </a:xfrm>
            <a:prstGeom prst="line">
              <a:avLst/>
            </a:prstGeom>
            <a:ln w="6350">
              <a:solidFill>
                <a:schemeClr val="tx2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r Verbinder 55">
              <a:extLst>
                <a:ext uri="{FF2B5EF4-FFF2-40B4-BE49-F238E27FC236}">
                  <a16:creationId xmlns:a16="http://schemas.microsoft.com/office/drawing/2014/main" id="{530E4814-67A8-7DA0-7DB5-C01459CD64FF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230813"/>
              <a:ext cx="0" cy="232815"/>
            </a:xfrm>
            <a:prstGeom prst="line">
              <a:avLst/>
            </a:prstGeom>
            <a:ln w="6350">
              <a:solidFill>
                <a:schemeClr val="tx2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1" name="Content Placeholder 2">
            <a:extLst>
              <a:ext uri="{FF2B5EF4-FFF2-40B4-BE49-F238E27FC236}">
                <a16:creationId xmlns:a16="http://schemas.microsoft.com/office/drawing/2014/main" id="{51012E29-560A-2C9A-86C0-7A82533C9733}"/>
              </a:ext>
            </a:extLst>
          </p:cNvPr>
          <p:cNvSpPr txBox="1">
            <a:spLocks/>
          </p:cNvSpPr>
          <p:nvPr/>
        </p:nvSpPr>
        <p:spPr>
          <a:xfrm>
            <a:off x="3094781" y="4179356"/>
            <a:ext cx="1109834" cy="424777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39">
              <a:lnSpc>
                <a:spcPct val="100000"/>
              </a:lnSpc>
              <a:spcBef>
                <a:spcPts val="1333"/>
              </a:spcBef>
              <a:buNone/>
              <a:defRPr/>
            </a:pPr>
            <a:r>
              <a:rPr lang="en-GB" sz="1200">
                <a:cs typeface="Arial" panose="020B0604020202020204" pitchFamily="34" charset="0"/>
                <a:sym typeface="Arial" panose="020B0604020202020204" pitchFamily="34" charset="0"/>
              </a:rPr>
              <a:t>Use selectively and sparingly</a:t>
            </a: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18F7C882-5ABD-34C2-BC1F-56F5B5EB2173}"/>
              </a:ext>
            </a:extLst>
          </p:cNvPr>
          <p:cNvGrpSpPr/>
          <p:nvPr/>
        </p:nvGrpSpPr>
        <p:grpSpPr>
          <a:xfrm>
            <a:off x="2709977" y="4014659"/>
            <a:ext cx="217375" cy="746773"/>
            <a:chOff x="5954751" y="2230813"/>
            <a:chExt cx="356839" cy="232815"/>
          </a:xfrm>
        </p:grpSpPr>
        <p:cxnSp>
          <p:nvCxnSpPr>
            <p:cNvPr id="103" name="Gerader Verbinder 50">
              <a:extLst>
                <a:ext uri="{FF2B5EF4-FFF2-40B4-BE49-F238E27FC236}">
                  <a16:creationId xmlns:a16="http://schemas.microsoft.com/office/drawing/2014/main" id="{FAD3B513-9C70-4309-DDAB-97AEA5664F2B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347220"/>
              <a:ext cx="356839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r Verbinder 55">
              <a:extLst>
                <a:ext uri="{FF2B5EF4-FFF2-40B4-BE49-F238E27FC236}">
                  <a16:creationId xmlns:a16="http://schemas.microsoft.com/office/drawing/2014/main" id="{6514E2ED-EE9C-DEA0-8858-8FF7A4F20EA0}"/>
                </a:ext>
              </a:extLst>
            </p:cNvPr>
            <p:cNvCxnSpPr>
              <a:cxnSpLocks/>
            </p:cNvCxnSpPr>
            <p:nvPr/>
          </p:nvCxnSpPr>
          <p:spPr>
            <a:xfrm>
              <a:off x="5954751" y="2230813"/>
              <a:ext cx="0" cy="2328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5" name="Rectangle 13">
            <a:extLst>
              <a:ext uri="{FF2B5EF4-FFF2-40B4-BE49-F238E27FC236}">
                <a16:creationId xmlns:a16="http://schemas.microsoft.com/office/drawing/2014/main" id="{51FD5E8D-50C8-0214-07C0-E88F5193972D}"/>
              </a:ext>
            </a:extLst>
          </p:cNvPr>
          <p:cNvSpPr/>
          <p:nvPr/>
        </p:nvSpPr>
        <p:spPr>
          <a:xfrm>
            <a:off x="4737229" y="4268539"/>
            <a:ext cx="602773" cy="545895"/>
          </a:xfrm>
          <a:prstGeom prst="rect">
            <a:avLst/>
          </a:prstGeom>
          <a:solidFill>
            <a:srgbClr val="005194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7" name="Rectangle 13">
            <a:extLst>
              <a:ext uri="{FF2B5EF4-FFF2-40B4-BE49-F238E27FC236}">
                <a16:creationId xmlns:a16="http://schemas.microsoft.com/office/drawing/2014/main" id="{B910C4A2-8082-C66C-B60B-356C1B3BA384}"/>
              </a:ext>
            </a:extLst>
          </p:cNvPr>
          <p:cNvSpPr/>
          <p:nvPr/>
        </p:nvSpPr>
        <p:spPr>
          <a:xfrm>
            <a:off x="6886076" y="4268539"/>
            <a:ext cx="602773" cy="545895"/>
          </a:xfrm>
          <a:prstGeom prst="rect">
            <a:avLst/>
          </a:prstGeom>
          <a:solidFill>
            <a:srgbClr val="99B9D4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8" name="Rectangle 13">
            <a:extLst>
              <a:ext uri="{FF2B5EF4-FFF2-40B4-BE49-F238E27FC236}">
                <a16:creationId xmlns:a16="http://schemas.microsoft.com/office/drawing/2014/main" id="{150547F5-511E-6DEB-C27B-1C31F97F7F1E}"/>
              </a:ext>
            </a:extLst>
          </p:cNvPr>
          <p:cNvSpPr/>
          <p:nvPr/>
        </p:nvSpPr>
        <p:spPr>
          <a:xfrm>
            <a:off x="6169793" y="4268539"/>
            <a:ext cx="602773" cy="545895"/>
          </a:xfrm>
          <a:prstGeom prst="rect">
            <a:avLst/>
          </a:prstGeom>
          <a:solidFill>
            <a:srgbClr val="6697BF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9" name="Rectangle 13">
            <a:extLst>
              <a:ext uri="{FF2B5EF4-FFF2-40B4-BE49-F238E27FC236}">
                <a16:creationId xmlns:a16="http://schemas.microsoft.com/office/drawing/2014/main" id="{EBACE547-7889-B6F1-D9BA-137E4A5EF8FD}"/>
              </a:ext>
            </a:extLst>
          </p:cNvPr>
          <p:cNvSpPr/>
          <p:nvPr/>
        </p:nvSpPr>
        <p:spPr>
          <a:xfrm>
            <a:off x="5453511" y="4268539"/>
            <a:ext cx="602773" cy="545895"/>
          </a:xfrm>
          <a:prstGeom prst="rect">
            <a:avLst/>
          </a:prstGeom>
          <a:solidFill>
            <a:srgbClr val="3374A9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0" name="Rectangle 13">
            <a:extLst>
              <a:ext uri="{FF2B5EF4-FFF2-40B4-BE49-F238E27FC236}">
                <a16:creationId xmlns:a16="http://schemas.microsoft.com/office/drawing/2014/main" id="{8B43B5C9-F01E-FEBE-FDF0-D982DE368DB1}"/>
              </a:ext>
            </a:extLst>
          </p:cNvPr>
          <p:cNvSpPr/>
          <p:nvPr/>
        </p:nvSpPr>
        <p:spPr>
          <a:xfrm>
            <a:off x="9034923" y="4268539"/>
            <a:ext cx="602773" cy="545895"/>
          </a:xfrm>
          <a:prstGeom prst="rect">
            <a:avLst/>
          </a:prstGeom>
          <a:solidFill>
            <a:srgbClr val="F39800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1" name="Rectangle 13">
            <a:extLst>
              <a:ext uri="{FF2B5EF4-FFF2-40B4-BE49-F238E27FC236}">
                <a16:creationId xmlns:a16="http://schemas.microsoft.com/office/drawing/2014/main" id="{D1378E0E-9B46-AEBD-C505-68933B206E88}"/>
              </a:ext>
            </a:extLst>
          </p:cNvPr>
          <p:cNvSpPr/>
          <p:nvPr/>
        </p:nvSpPr>
        <p:spPr>
          <a:xfrm>
            <a:off x="9749993" y="4268539"/>
            <a:ext cx="602773" cy="545895"/>
          </a:xfrm>
          <a:prstGeom prst="rect">
            <a:avLst/>
          </a:prstGeom>
          <a:solidFill>
            <a:srgbClr val="F5AD33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2" name="Rectangle 13">
            <a:extLst>
              <a:ext uri="{FF2B5EF4-FFF2-40B4-BE49-F238E27FC236}">
                <a16:creationId xmlns:a16="http://schemas.microsoft.com/office/drawing/2014/main" id="{451F5D7D-B94C-FD58-88F8-2DBD6FC14579}"/>
              </a:ext>
            </a:extLst>
          </p:cNvPr>
          <p:cNvSpPr/>
          <p:nvPr/>
        </p:nvSpPr>
        <p:spPr>
          <a:xfrm>
            <a:off x="10466277" y="4268539"/>
            <a:ext cx="602773" cy="545895"/>
          </a:xfrm>
          <a:prstGeom prst="rect">
            <a:avLst/>
          </a:prstGeom>
          <a:solidFill>
            <a:srgbClr val="F8C166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3" name="Rectangle 13">
            <a:extLst>
              <a:ext uri="{FF2B5EF4-FFF2-40B4-BE49-F238E27FC236}">
                <a16:creationId xmlns:a16="http://schemas.microsoft.com/office/drawing/2014/main" id="{4192DD3D-9D20-33DD-EF53-671B1D4FD254}"/>
              </a:ext>
            </a:extLst>
          </p:cNvPr>
          <p:cNvSpPr/>
          <p:nvPr/>
        </p:nvSpPr>
        <p:spPr>
          <a:xfrm>
            <a:off x="11182564" y="4268539"/>
            <a:ext cx="602773" cy="545895"/>
          </a:xfrm>
          <a:prstGeom prst="rect">
            <a:avLst/>
          </a:prstGeom>
          <a:solidFill>
            <a:srgbClr val="FAD699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4" name="Rectangle 13">
            <a:extLst>
              <a:ext uri="{FF2B5EF4-FFF2-40B4-BE49-F238E27FC236}">
                <a16:creationId xmlns:a16="http://schemas.microsoft.com/office/drawing/2014/main" id="{1D30DE6E-5812-98E8-D99D-9648BADD237B}"/>
              </a:ext>
            </a:extLst>
          </p:cNvPr>
          <p:cNvSpPr/>
          <p:nvPr/>
        </p:nvSpPr>
        <p:spPr>
          <a:xfrm>
            <a:off x="4737229" y="4931149"/>
            <a:ext cx="602773" cy="545895"/>
          </a:xfrm>
          <a:prstGeom prst="rect">
            <a:avLst/>
          </a:prstGeom>
          <a:solidFill>
            <a:srgbClr val="005D39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5" name="Rectangle 13">
            <a:extLst>
              <a:ext uri="{FF2B5EF4-FFF2-40B4-BE49-F238E27FC236}">
                <a16:creationId xmlns:a16="http://schemas.microsoft.com/office/drawing/2014/main" id="{FA7B3943-F038-CA00-3C53-733F000A9E23}"/>
              </a:ext>
            </a:extLst>
          </p:cNvPr>
          <p:cNvSpPr/>
          <p:nvPr/>
        </p:nvSpPr>
        <p:spPr>
          <a:xfrm>
            <a:off x="6886076" y="4931149"/>
            <a:ext cx="602773" cy="545895"/>
          </a:xfrm>
          <a:prstGeom prst="rect">
            <a:avLst/>
          </a:prstGeom>
          <a:solidFill>
            <a:srgbClr val="99BEB0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6" name="Rectangle 13">
            <a:extLst>
              <a:ext uri="{FF2B5EF4-FFF2-40B4-BE49-F238E27FC236}">
                <a16:creationId xmlns:a16="http://schemas.microsoft.com/office/drawing/2014/main" id="{3309A3D7-1AB6-8320-7E8A-569550981B18}"/>
              </a:ext>
            </a:extLst>
          </p:cNvPr>
          <p:cNvSpPr/>
          <p:nvPr/>
        </p:nvSpPr>
        <p:spPr>
          <a:xfrm>
            <a:off x="6169793" y="4931149"/>
            <a:ext cx="602773" cy="545895"/>
          </a:xfrm>
          <a:prstGeom prst="rect">
            <a:avLst/>
          </a:prstGeom>
          <a:solidFill>
            <a:srgbClr val="669E88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7" name="Rectangle 13">
            <a:extLst>
              <a:ext uri="{FF2B5EF4-FFF2-40B4-BE49-F238E27FC236}">
                <a16:creationId xmlns:a16="http://schemas.microsoft.com/office/drawing/2014/main" id="{9F9F5759-61B0-D2B5-7320-4F312FC09F2D}"/>
              </a:ext>
            </a:extLst>
          </p:cNvPr>
          <p:cNvSpPr/>
          <p:nvPr/>
        </p:nvSpPr>
        <p:spPr>
          <a:xfrm>
            <a:off x="5453511" y="4931149"/>
            <a:ext cx="602773" cy="545895"/>
          </a:xfrm>
          <a:prstGeom prst="rect">
            <a:avLst/>
          </a:prstGeom>
          <a:solidFill>
            <a:srgbClr val="337D6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8" name="Rectangle 13">
            <a:extLst>
              <a:ext uri="{FF2B5EF4-FFF2-40B4-BE49-F238E27FC236}">
                <a16:creationId xmlns:a16="http://schemas.microsoft.com/office/drawing/2014/main" id="{5EB4BF0A-245A-5F4A-3355-3FCA4900372F}"/>
              </a:ext>
            </a:extLst>
          </p:cNvPr>
          <p:cNvSpPr/>
          <p:nvPr/>
        </p:nvSpPr>
        <p:spPr>
          <a:xfrm>
            <a:off x="9034923" y="4931149"/>
            <a:ext cx="602773" cy="545895"/>
          </a:xfrm>
          <a:prstGeom prst="rect">
            <a:avLst/>
          </a:prstGeom>
          <a:solidFill>
            <a:srgbClr val="5C154F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9" name="Rectangle 13">
            <a:extLst>
              <a:ext uri="{FF2B5EF4-FFF2-40B4-BE49-F238E27FC236}">
                <a16:creationId xmlns:a16="http://schemas.microsoft.com/office/drawing/2014/main" id="{C73A4148-9091-3925-BE1D-CD8A6103DEA6}"/>
              </a:ext>
            </a:extLst>
          </p:cNvPr>
          <p:cNvSpPr/>
          <p:nvPr/>
        </p:nvSpPr>
        <p:spPr>
          <a:xfrm>
            <a:off x="9749993" y="4931149"/>
            <a:ext cx="602773" cy="545895"/>
          </a:xfrm>
          <a:prstGeom prst="rect">
            <a:avLst/>
          </a:prstGeom>
          <a:solidFill>
            <a:srgbClr val="7D4472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0" name="Rectangle 13">
            <a:extLst>
              <a:ext uri="{FF2B5EF4-FFF2-40B4-BE49-F238E27FC236}">
                <a16:creationId xmlns:a16="http://schemas.microsoft.com/office/drawing/2014/main" id="{2B1FDD87-ECDA-8D57-EBCC-D6FAF2A4D1C9}"/>
              </a:ext>
            </a:extLst>
          </p:cNvPr>
          <p:cNvSpPr/>
          <p:nvPr/>
        </p:nvSpPr>
        <p:spPr>
          <a:xfrm>
            <a:off x="10466277" y="4931149"/>
            <a:ext cx="602773" cy="545895"/>
          </a:xfrm>
          <a:prstGeom prst="rect">
            <a:avLst/>
          </a:prstGeom>
          <a:solidFill>
            <a:srgbClr val="9D7395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1" name="Rectangle 13">
            <a:extLst>
              <a:ext uri="{FF2B5EF4-FFF2-40B4-BE49-F238E27FC236}">
                <a16:creationId xmlns:a16="http://schemas.microsoft.com/office/drawing/2014/main" id="{25705B44-E0B5-9879-B387-03B2BE3102D7}"/>
              </a:ext>
            </a:extLst>
          </p:cNvPr>
          <p:cNvSpPr/>
          <p:nvPr/>
        </p:nvSpPr>
        <p:spPr>
          <a:xfrm>
            <a:off x="11182564" y="4931149"/>
            <a:ext cx="602773" cy="545895"/>
          </a:xfrm>
          <a:prstGeom prst="rect">
            <a:avLst/>
          </a:prstGeom>
          <a:solidFill>
            <a:srgbClr val="BEA1B9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23" name="Gerader Verbinder 55">
            <a:extLst>
              <a:ext uri="{FF2B5EF4-FFF2-40B4-BE49-F238E27FC236}">
                <a16:creationId xmlns:a16="http://schemas.microsoft.com/office/drawing/2014/main" id="{CFCBA94C-FC38-CE9C-41A0-C5908E2D9655}"/>
              </a:ext>
            </a:extLst>
          </p:cNvPr>
          <p:cNvCxnSpPr>
            <a:cxnSpLocks/>
          </p:cNvCxnSpPr>
          <p:nvPr/>
        </p:nvCxnSpPr>
        <p:spPr>
          <a:xfrm>
            <a:off x="4761918" y="3930778"/>
            <a:ext cx="7001457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0FEE6A52-F216-23C3-6AFD-971FCA933401}"/>
              </a:ext>
            </a:extLst>
          </p:cNvPr>
          <p:cNvGrpSpPr/>
          <p:nvPr/>
        </p:nvGrpSpPr>
        <p:grpSpPr>
          <a:xfrm>
            <a:off x="553276" y="2905313"/>
            <a:ext cx="1873031" cy="853200"/>
            <a:chOff x="497501" y="3256429"/>
            <a:chExt cx="1873031" cy="1211928"/>
          </a:xfrm>
        </p:grpSpPr>
        <p:sp>
          <p:nvSpPr>
            <p:cNvPr id="6" name="Freihandform: Form 52">
              <a:extLst>
                <a:ext uri="{FF2B5EF4-FFF2-40B4-BE49-F238E27FC236}">
                  <a16:creationId xmlns:a16="http://schemas.microsoft.com/office/drawing/2014/main" id="{4585181C-31FD-09CE-D61E-75D1706C9A89}"/>
                </a:ext>
              </a:extLst>
            </p:cNvPr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1219170">
                <a:defRPr/>
              </a:pPr>
              <a:endParaRPr lang="en-GB" sz="1467">
                <a:solidFill>
                  <a:prstClr val="black"/>
                </a:solidFill>
                <a:sym typeface="Arial" panose="020B0604020202020204" pitchFamily="34" charset="0"/>
              </a:endParaRPr>
            </a:p>
          </p:txBody>
        </p:sp>
        <p:cxnSp>
          <p:nvCxnSpPr>
            <p:cNvPr id="7" name="Straight Connector 83">
              <a:extLst>
                <a:ext uri="{FF2B5EF4-FFF2-40B4-BE49-F238E27FC236}">
                  <a16:creationId xmlns:a16="http://schemas.microsoft.com/office/drawing/2014/main" id="{EDC2B575-4830-8434-3905-E0F5DB1DC31C}"/>
                </a:ext>
              </a:extLst>
            </p:cNvPr>
            <p:cNvCxnSpPr>
              <a:cxnSpLocks/>
            </p:cNvCxnSpPr>
            <p:nvPr/>
          </p:nvCxnSpPr>
          <p:spPr>
            <a:xfrm>
              <a:off x="504098" y="3281637"/>
              <a:ext cx="1866433" cy="1186720"/>
            </a:xfrm>
            <a:prstGeom prst="line">
              <a:avLst/>
            </a:prstGeom>
            <a:solidFill>
              <a:schemeClr val="accent6">
                <a:alpha val="20000"/>
              </a:scheme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" name="Straight Connector 84">
              <a:extLst>
                <a:ext uri="{FF2B5EF4-FFF2-40B4-BE49-F238E27FC236}">
                  <a16:creationId xmlns:a16="http://schemas.microsoft.com/office/drawing/2014/main" id="{A191FEA9-4A0A-0CE5-7391-BE35A4EEB22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28242" y="3281637"/>
              <a:ext cx="1832279" cy="1186720"/>
            </a:xfrm>
            <a:prstGeom prst="line">
              <a:avLst/>
            </a:prstGeom>
            <a:solidFill>
              <a:schemeClr val="accent6">
                <a:alpha val="20000"/>
              </a:schemeClr>
            </a:solidFill>
            <a:ln w="28575" cap="rnd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2223DC09-F700-31E4-06C5-E25DF1816809}"/>
              </a:ext>
            </a:extLst>
          </p:cNvPr>
          <p:cNvGrpSpPr/>
          <p:nvPr/>
        </p:nvGrpSpPr>
        <p:grpSpPr>
          <a:xfrm>
            <a:off x="4718717" y="2885608"/>
            <a:ext cx="1324291" cy="217375"/>
            <a:chOff x="4697470" y="3209372"/>
            <a:chExt cx="433615" cy="163031"/>
          </a:xfrm>
        </p:grpSpPr>
        <p:cxnSp>
          <p:nvCxnSpPr>
            <p:cNvPr id="10" name="Gerader Verbinder 50">
              <a:extLst>
                <a:ext uri="{FF2B5EF4-FFF2-40B4-BE49-F238E27FC236}">
                  <a16:creationId xmlns:a16="http://schemas.microsoft.com/office/drawing/2014/main" id="{56A5A444-97CF-7F26-68EA-2459C575EF7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832764" y="3290888"/>
              <a:ext cx="163031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55">
              <a:extLst>
                <a:ext uri="{FF2B5EF4-FFF2-40B4-BE49-F238E27FC236}">
                  <a16:creationId xmlns:a16="http://schemas.microsoft.com/office/drawing/2014/main" id="{05C42648-B69A-9C8C-4AB3-59DA8E276C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914278" y="2992565"/>
              <a:ext cx="0" cy="4336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8F4B848-7960-23D8-0ABB-BBFAA9B958C3}"/>
              </a:ext>
            </a:extLst>
          </p:cNvPr>
          <p:cNvSpPr txBox="1">
            <a:spLocks/>
          </p:cNvSpPr>
          <p:nvPr/>
        </p:nvSpPr>
        <p:spPr>
          <a:xfrm>
            <a:off x="4723977" y="3218607"/>
            <a:ext cx="1319033" cy="43088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defPPr>
              <a:defRPr lang="de-DE"/>
            </a:defPPr>
            <a:lvl1pPr indent="0" algn="ctr" defTabSz="68580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914377">
              <a:spcBef>
                <a:spcPts val="1000"/>
              </a:spcBef>
              <a:defRPr/>
            </a:pP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Default </a:t>
            </a:r>
            <a:b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</a:b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text colour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6F9FB28-DD36-CD66-4F6C-6ECF5833CF06}"/>
              </a:ext>
            </a:extLst>
          </p:cNvPr>
          <p:cNvSpPr txBox="1">
            <a:spLocks/>
          </p:cNvSpPr>
          <p:nvPr/>
        </p:nvSpPr>
        <p:spPr>
          <a:xfrm>
            <a:off x="8406381" y="3218607"/>
            <a:ext cx="2520000" cy="43088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defPPr>
              <a:defRPr lang="de-DE"/>
            </a:defPPr>
            <a:lvl1pPr indent="0" algn="ctr" defTabSz="68580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914377">
              <a:spcBef>
                <a:spcPts val="1000"/>
              </a:spcBef>
              <a:defRPr/>
            </a:pP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Colours for diagrams, </a:t>
            </a:r>
            <a:b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</a:b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charts, graphs etc.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145AFD1-1A2B-BDBA-675C-C4E2E0D0C654}"/>
              </a:ext>
            </a:extLst>
          </p:cNvPr>
          <p:cNvGrpSpPr/>
          <p:nvPr/>
        </p:nvGrpSpPr>
        <p:grpSpPr>
          <a:xfrm>
            <a:off x="7589112" y="2885608"/>
            <a:ext cx="4159413" cy="217375"/>
            <a:chOff x="4697470" y="3209372"/>
            <a:chExt cx="433615" cy="163031"/>
          </a:xfrm>
        </p:grpSpPr>
        <p:cxnSp>
          <p:nvCxnSpPr>
            <p:cNvPr id="16" name="Gerader Verbinder 50">
              <a:extLst>
                <a:ext uri="{FF2B5EF4-FFF2-40B4-BE49-F238E27FC236}">
                  <a16:creationId xmlns:a16="http://schemas.microsoft.com/office/drawing/2014/main" id="{B5796AB1-0417-5A31-3E74-378D8F723F3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832764" y="3290888"/>
              <a:ext cx="163031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55">
              <a:extLst>
                <a:ext uri="{FF2B5EF4-FFF2-40B4-BE49-F238E27FC236}">
                  <a16:creationId xmlns:a16="http://schemas.microsoft.com/office/drawing/2014/main" id="{62367B8C-6F81-F970-D1D7-9026EE55C27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914278" y="2992565"/>
              <a:ext cx="0" cy="4336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B036F5C-40DF-245B-2FCD-CDDC9AD1326A}"/>
              </a:ext>
            </a:extLst>
          </p:cNvPr>
          <p:cNvGrpSpPr/>
          <p:nvPr/>
        </p:nvGrpSpPr>
        <p:grpSpPr>
          <a:xfrm>
            <a:off x="4718717" y="5661456"/>
            <a:ext cx="2770131" cy="217375"/>
            <a:chOff x="4697470" y="3209372"/>
            <a:chExt cx="433615" cy="163031"/>
          </a:xfrm>
        </p:grpSpPr>
        <p:cxnSp>
          <p:nvCxnSpPr>
            <p:cNvPr id="21" name="Gerader Verbinder 50">
              <a:extLst>
                <a:ext uri="{FF2B5EF4-FFF2-40B4-BE49-F238E27FC236}">
                  <a16:creationId xmlns:a16="http://schemas.microsoft.com/office/drawing/2014/main" id="{27EE15C5-866E-FEA7-BBB4-8262523843D2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832764" y="3290888"/>
              <a:ext cx="163031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55">
              <a:extLst>
                <a:ext uri="{FF2B5EF4-FFF2-40B4-BE49-F238E27FC236}">
                  <a16:creationId xmlns:a16="http://schemas.microsoft.com/office/drawing/2014/main" id="{EF5CBFAA-4917-9B46-C074-3E9F2A7CB695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914278" y="2992565"/>
              <a:ext cx="0" cy="4336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C202630-7313-0A0D-AA0A-44CAB0F617DB}"/>
              </a:ext>
            </a:extLst>
          </p:cNvPr>
          <p:cNvSpPr txBox="1">
            <a:spLocks/>
          </p:cNvSpPr>
          <p:nvPr/>
        </p:nvSpPr>
        <p:spPr>
          <a:xfrm>
            <a:off x="4737229" y="5994455"/>
            <a:ext cx="2751623" cy="43088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defPPr>
              <a:defRPr lang="de-DE"/>
            </a:defPPr>
            <a:lvl1pPr indent="0" algn="ctr" defTabSz="68580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914377">
              <a:spcBef>
                <a:spcPts val="1000"/>
              </a:spcBef>
              <a:defRPr/>
            </a:pP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Colours for diagrams, </a:t>
            </a:r>
            <a:b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</a:b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charts, graphs etc.</a:t>
            </a:r>
          </a:p>
        </p:txBody>
      </p:sp>
      <p:sp>
        <p:nvSpPr>
          <p:cNvPr id="26" name="Rectangle 13">
            <a:extLst>
              <a:ext uri="{FF2B5EF4-FFF2-40B4-BE49-F238E27FC236}">
                <a16:creationId xmlns:a16="http://schemas.microsoft.com/office/drawing/2014/main" id="{410D9C1D-EE54-587E-C248-FFD4768EC955}"/>
              </a:ext>
            </a:extLst>
          </p:cNvPr>
          <p:cNvSpPr/>
          <p:nvPr/>
        </p:nvSpPr>
        <p:spPr>
          <a:xfrm>
            <a:off x="8305389" y="4268539"/>
            <a:ext cx="602773" cy="54589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Rectangle 13">
            <a:extLst>
              <a:ext uri="{FF2B5EF4-FFF2-40B4-BE49-F238E27FC236}">
                <a16:creationId xmlns:a16="http://schemas.microsoft.com/office/drawing/2014/main" id="{61434C17-6C71-1C53-AF95-ED465F241650}"/>
              </a:ext>
            </a:extLst>
          </p:cNvPr>
          <p:cNvSpPr/>
          <p:nvPr/>
        </p:nvSpPr>
        <p:spPr>
          <a:xfrm>
            <a:off x="7589106" y="4268539"/>
            <a:ext cx="602773" cy="54589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" name="Rectangle 13">
            <a:extLst>
              <a:ext uri="{FF2B5EF4-FFF2-40B4-BE49-F238E27FC236}">
                <a16:creationId xmlns:a16="http://schemas.microsoft.com/office/drawing/2014/main" id="{305855F0-B05A-C770-32B9-EEA1771CCE59}"/>
              </a:ext>
            </a:extLst>
          </p:cNvPr>
          <p:cNvSpPr/>
          <p:nvPr/>
        </p:nvSpPr>
        <p:spPr>
          <a:xfrm>
            <a:off x="8305389" y="4931149"/>
            <a:ext cx="602773" cy="54589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" name="Rectangle 13">
            <a:extLst>
              <a:ext uri="{FF2B5EF4-FFF2-40B4-BE49-F238E27FC236}">
                <a16:creationId xmlns:a16="http://schemas.microsoft.com/office/drawing/2014/main" id="{2D6057A9-B527-AC86-688D-F5142D6AC99E}"/>
              </a:ext>
            </a:extLst>
          </p:cNvPr>
          <p:cNvSpPr/>
          <p:nvPr/>
        </p:nvSpPr>
        <p:spPr>
          <a:xfrm>
            <a:off x="7589106" y="4931149"/>
            <a:ext cx="602773" cy="54589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GB" sz="1067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29F47FB4-78BD-7901-6A97-EF2C8E1600AE}"/>
              </a:ext>
            </a:extLst>
          </p:cNvPr>
          <p:cNvGrpSpPr/>
          <p:nvPr/>
        </p:nvGrpSpPr>
        <p:grpSpPr>
          <a:xfrm>
            <a:off x="9015202" y="5661456"/>
            <a:ext cx="2770131" cy="217375"/>
            <a:chOff x="4697470" y="3209372"/>
            <a:chExt cx="433615" cy="163031"/>
          </a:xfrm>
        </p:grpSpPr>
        <p:cxnSp>
          <p:nvCxnSpPr>
            <p:cNvPr id="31" name="Gerader Verbinder 50">
              <a:extLst>
                <a:ext uri="{FF2B5EF4-FFF2-40B4-BE49-F238E27FC236}">
                  <a16:creationId xmlns:a16="http://schemas.microsoft.com/office/drawing/2014/main" id="{77A85FCE-E228-EDBF-29D6-6EBD87604CDA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832764" y="3290888"/>
              <a:ext cx="163031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55">
              <a:extLst>
                <a:ext uri="{FF2B5EF4-FFF2-40B4-BE49-F238E27FC236}">
                  <a16:creationId xmlns:a16="http://schemas.microsoft.com/office/drawing/2014/main" id="{849A3294-B797-74D1-3EAB-2E19DFB6B10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914278" y="2992565"/>
              <a:ext cx="0" cy="43361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58D97B61-61BB-F277-80B9-35F247DDB62B}"/>
              </a:ext>
            </a:extLst>
          </p:cNvPr>
          <p:cNvSpPr txBox="1">
            <a:spLocks/>
          </p:cNvSpPr>
          <p:nvPr/>
        </p:nvSpPr>
        <p:spPr>
          <a:xfrm>
            <a:off x="9033714" y="5994455"/>
            <a:ext cx="2751623" cy="43088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defPPr>
              <a:defRPr lang="de-DE"/>
            </a:defPPr>
            <a:lvl1pPr indent="0" algn="ctr" defTabSz="68580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914377">
              <a:spcBef>
                <a:spcPts val="1000"/>
              </a:spcBef>
              <a:defRPr/>
            </a:pP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Colours for diagrams, </a:t>
            </a:r>
            <a:b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</a:br>
            <a:r>
              <a:rPr lang="en-GB" sz="1400">
                <a:solidFill>
                  <a:schemeClr val="tx1"/>
                </a:solidFill>
                <a:sym typeface="Arial" panose="020B0604020202020204" pitchFamily="34" charset="0"/>
              </a:rPr>
              <a:t>charts, graphs etc.</a:t>
            </a:r>
          </a:p>
        </p:txBody>
      </p:sp>
    </p:spTree>
    <p:extLst>
      <p:ext uri="{BB962C8B-B14F-4D97-AF65-F5344CB8AC3E}">
        <p14:creationId xmlns:p14="http://schemas.microsoft.com/office/powerpoint/2010/main" val="4055775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561E403-33F7-B94A-DE82-295AC6F21A5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5" r="15853"/>
          <a:stretch/>
        </p:blipFill>
        <p:spPr>
          <a:xfrm>
            <a:off x="6096000" y="1098000"/>
            <a:ext cx="6096000" cy="57600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EE50F8-6089-8B05-8B3F-8F26994E48F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555665"/>
            <a:ext cx="5232000" cy="4896000"/>
          </a:xfrm>
        </p:spPr>
        <p:txBody>
          <a:bodyPr/>
          <a:lstStyle/>
          <a:p>
            <a:r>
              <a:rPr lang="en-US" dirty="0"/>
              <a:t>Introduction</a:t>
            </a:r>
          </a:p>
          <a:p>
            <a:r>
              <a:rPr lang="en-US" dirty="0"/>
              <a:t>Key Functionalities</a:t>
            </a:r>
          </a:p>
          <a:p>
            <a:r>
              <a:rPr lang="en-US" dirty="0"/>
              <a:t>Q&amp;A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2823D42-BBCC-FF67-3367-1A97BAB84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59810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7428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What is MS Lists?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Introduc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2589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7E9F1D8E-5CD6-669B-488D-B0394463E63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l="4559" t="-5617" r="31079" b="-2491"/>
          <a:stretch>
            <a:fillRect/>
          </a:stretch>
        </p:blipFill>
        <p:spPr>
          <a:xfrm>
            <a:off x="6096000" y="1098000"/>
            <a:ext cx="6096000" cy="5760000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9E9E7B5-BDF1-4F3B-5DC4-0AD36B6113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669289" lvl="1" indent="-334645">
              <a:lnSpc>
                <a:spcPct val="100000"/>
              </a:lnSpc>
              <a:buFont typeface="Arial"/>
              <a:buChar char="•"/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MS List is a tool for managing structured lists of data</a:t>
            </a:r>
          </a:p>
          <a:p>
            <a:pPr marL="669289" lvl="1" indent="-334645">
              <a:lnSpc>
                <a:spcPct val="100000"/>
              </a:lnSpc>
              <a:buFont typeface="Arial"/>
              <a:buChar char="•"/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Works like a simple table or database</a:t>
            </a:r>
          </a:p>
          <a:p>
            <a:pPr marL="669289" lvl="1" indent="-334645">
              <a:lnSpc>
                <a:spcPct val="100000"/>
              </a:lnSpc>
              <a:buFont typeface="Arial"/>
              <a:buChar char="•"/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Let’s users:</a:t>
            </a:r>
          </a:p>
          <a:p>
            <a:pPr marL="1338579" lvl="2" indent="-446193">
              <a:lnSpc>
                <a:spcPct val="100000"/>
              </a:lnSpc>
              <a:buFont typeface="Arial"/>
              <a:buChar char="⚬"/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Create lists</a:t>
            </a:r>
          </a:p>
          <a:p>
            <a:pPr marL="1338579" lvl="2" indent="-446193">
              <a:lnSpc>
                <a:spcPct val="100000"/>
              </a:lnSpc>
              <a:buFont typeface="Arial"/>
              <a:buChar char="⚬"/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View data</a:t>
            </a:r>
          </a:p>
          <a:p>
            <a:pPr marL="1338579" lvl="2" indent="-446193">
              <a:lnSpc>
                <a:spcPct val="100000"/>
              </a:lnSpc>
              <a:buFont typeface="Arial"/>
              <a:buChar char="⚬"/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Manage info clearly and easily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521DB2E-AD64-0680-8783-D12FD58E83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What is Microsoft List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5096EED-E4A7-AF91-27B1-EB89B3B3A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409916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18B968-C584-8DAD-AD19-51B0EF3222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02973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97CEAA93-EF5B-6E0E-C86D-8320414DF7B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C2C5989-BC54-3BBD-8A51-0597FC8808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Key </a:t>
            </a:r>
            <a:r>
              <a:rPr lang="en-US" dirty="0" err="1"/>
              <a:t>Functionaliti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5068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3A8424D-E30A-CC8F-7CCA-CAC552D853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972572" y="1109759"/>
            <a:ext cx="7219428" cy="4638481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927CAB0-B37D-52A6-4426-B2C2E84419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826883"/>
            <a:ext cx="4877419" cy="3204232"/>
          </a:xfrm>
        </p:spPr>
        <p:txBody>
          <a:bodyPr wrap="square" anchor="t"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/>
              <a:t>Create and Manage Lis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Custom Column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Manage List Item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Custom View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Conditional Formatti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Permissions and Shari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Built-in Templat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2C62CE5-8D7B-3AB9-4C63-246726DC02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Key Functionalities of MS Lists</a:t>
            </a:r>
          </a:p>
        </p:txBody>
      </p:sp>
    </p:spTree>
    <p:extLst>
      <p:ext uri="{BB962C8B-B14F-4D97-AF65-F5344CB8AC3E}">
        <p14:creationId xmlns:p14="http://schemas.microsoft.com/office/powerpoint/2010/main" val="136181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8FF9ECD-E04B-9B6C-75C2-0FA45FCB09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shboard Screen</a:t>
            </a:r>
          </a:p>
        </p:txBody>
      </p:sp>
      <p:pic>
        <p:nvPicPr>
          <p:cNvPr id="7" name="Picture Placeholder 6" descr="A screenshot of a computer&#10;&#10;AI-generated content may be incorrect.">
            <a:extLst>
              <a:ext uri="{FF2B5EF4-FFF2-40B4-BE49-F238E27FC236}">
                <a16:creationId xmlns:a16="http://schemas.microsoft.com/office/drawing/2014/main" id="{6278B8A0-1BF9-276A-9BF9-724FE94B212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32" b="3386"/>
          <a:stretch>
            <a:fillRect/>
          </a:stretch>
        </p:blipFill>
        <p:spPr>
          <a:xfrm>
            <a:off x="0" y="1098000"/>
            <a:ext cx="12192000" cy="5760000"/>
          </a:xfrm>
        </p:spPr>
      </p:pic>
    </p:spTree>
    <p:extLst>
      <p:ext uri="{BB962C8B-B14F-4D97-AF65-F5344CB8AC3E}">
        <p14:creationId xmlns:p14="http://schemas.microsoft.com/office/powerpoint/2010/main" val="3505235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62510A1F-2EA7-4EA2-AAB4-F1C7937D1124}" vid="{EAF1E2DA-C1F8-46A6-B21C-C2C8E7E0A10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ECA5C03B5B3648A59C327F9B592BCA" ma:contentTypeVersion="18" ma:contentTypeDescription="Create a new document." ma:contentTypeScope="" ma:versionID="6c18a499376fe99d18d064f593f17266">
  <xsd:schema xmlns:xsd="http://www.w3.org/2001/XMLSchema" xmlns:xs="http://www.w3.org/2001/XMLSchema" xmlns:p="http://schemas.microsoft.com/office/2006/metadata/properties" xmlns:ns2="ab110e31-9a28-463c-b599-9105678ef09e" xmlns:ns3="b416dfb7-f3da-461d-9305-4b76a01efcc1" targetNamespace="http://schemas.microsoft.com/office/2006/metadata/properties" ma:root="true" ma:fieldsID="c0ea90f0bc4730787fb2734bd82545d6" ns2:_="" ns3:_="">
    <xsd:import namespace="ab110e31-9a28-463c-b599-9105678ef09e"/>
    <xsd:import namespace="b416dfb7-f3da-461d-9305-4b76a01efcc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110e31-9a28-463c-b599-9105678ef0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6dfb7-f3da-461d-9305-4b76a01efcc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7b86b37b-a08c-44d0-9ed8-25de7933685a}" ma:internalName="TaxCatchAll" ma:showField="CatchAllData" ma:web="b416dfb7-f3da-461d-9305-4b76a01efcc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0C702D9-9E55-4D09-9269-3B464CFDB0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110e31-9a28-463c-b599-9105678ef09e"/>
    <ds:schemaRef ds:uri="b416dfb7-f3da-461d-9305-4b76a01efcc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1601</TotalTime>
  <Words>2324</Words>
  <Application>Microsoft Office PowerPoint</Application>
  <PresentationFormat>Widescreen</PresentationFormat>
  <Paragraphs>364</Paragraphs>
  <Slides>38</Slides>
  <Notes>36</Notes>
  <HiddenSlides>3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42" baseType="lpstr">
      <vt:lpstr>Arial</vt:lpstr>
      <vt:lpstr>Calibri</vt:lpstr>
      <vt:lpstr>bbv template EN</vt:lpstr>
      <vt:lpstr>think-cell Slide</vt:lpstr>
      <vt:lpstr>PowerPoint Presentation</vt:lpstr>
      <vt:lpstr>Ypp 4</vt:lpstr>
      <vt:lpstr>Presentation on MS Lists Functionalities</vt:lpstr>
      <vt:lpstr>Agenda</vt:lpstr>
      <vt:lpstr>Introduction</vt:lpstr>
      <vt:lpstr>Introduction</vt:lpstr>
      <vt:lpstr>Key Functionalitie</vt:lpstr>
      <vt:lpstr>Key Functionalities of MS Lists</vt:lpstr>
      <vt:lpstr>Dashboard Screen</vt:lpstr>
      <vt:lpstr>Dashboard Screen</vt:lpstr>
      <vt:lpstr>Dashboard Entities</vt:lpstr>
      <vt:lpstr>Dashboard Sample Data</vt:lpstr>
      <vt:lpstr>Create List Screen</vt:lpstr>
      <vt:lpstr>Create List Screen</vt:lpstr>
      <vt:lpstr>Create List From List Type</vt:lpstr>
      <vt:lpstr>Create List Sample Data</vt:lpstr>
      <vt:lpstr>Create List Sample Data</vt:lpstr>
      <vt:lpstr>Create List From Template</vt:lpstr>
      <vt:lpstr>Template Entities</vt:lpstr>
      <vt:lpstr>List Management</vt:lpstr>
      <vt:lpstr>List Row Detail</vt:lpstr>
      <vt:lpstr>List Column</vt:lpstr>
      <vt:lpstr>List Entities</vt:lpstr>
      <vt:lpstr>List Column Setting</vt:lpstr>
      <vt:lpstr>List Column Setting Entities</vt:lpstr>
      <vt:lpstr>List View</vt:lpstr>
      <vt:lpstr>List View Entities</vt:lpstr>
      <vt:lpstr>List View Sample Data</vt:lpstr>
      <vt:lpstr>Manage Access</vt:lpstr>
      <vt:lpstr>Manage Access</vt:lpstr>
      <vt:lpstr>Manage Access Entities</vt:lpstr>
      <vt:lpstr>Manage Access Sample Data</vt:lpstr>
      <vt:lpstr>Trash</vt:lpstr>
      <vt:lpstr>Q&amp;A</vt:lpstr>
      <vt:lpstr>PowerPoint Presentation</vt:lpstr>
      <vt:lpstr>bbv template EN</vt:lpstr>
      <vt:lpstr>Working area, guides &amp; ruler</vt:lpstr>
      <vt:lpstr>bbv colour them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o Trong Vo</dc:creator>
  <cp:lastModifiedBy>Quân Võ Nguyễn Đình</cp:lastModifiedBy>
  <cp:revision>28</cp:revision>
  <dcterms:created xsi:type="dcterms:W3CDTF">2025-07-10T03:51:23Z</dcterms:created>
  <dcterms:modified xsi:type="dcterms:W3CDTF">2025-07-29T03:51:20Z</dcterms:modified>
</cp:coreProperties>
</file>